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60" r:id="rId4"/>
  </p:sldMasterIdLst>
  <p:notesMasterIdLst>
    <p:notesMasterId r:id="rId16"/>
  </p:notesMasterIdLst>
  <p:sldIdLst>
    <p:sldId id="414" r:id="rId5"/>
    <p:sldId id="518" r:id="rId6"/>
    <p:sldId id="531" r:id="rId7"/>
    <p:sldId id="515" r:id="rId8"/>
    <p:sldId id="533" r:id="rId9"/>
    <p:sldId id="536" r:id="rId10"/>
    <p:sldId id="532" r:id="rId11"/>
    <p:sldId id="534" r:id="rId12"/>
    <p:sldId id="535" r:id="rId13"/>
    <p:sldId id="434" r:id="rId14"/>
    <p:sldId id="276" r:id="rId15"/>
  </p:sldIdLst>
  <p:sldSz cx="12192000" cy="6858000"/>
  <p:notesSz cx="6858000" cy="9144000"/>
  <p:embeddedFontLst>
    <p:embeddedFont>
      <p:font typeface="Aptos Narrow" panose="020B0004020202020204" pitchFamily="34" charset="0"/>
      <p:regular r:id="rId17"/>
      <p:bold r:id="rId18"/>
      <p:italic r:id="rId19"/>
      <p:boldItalic r:id="rId20"/>
    </p:embeddedFont>
    <p:embeddedFont>
      <p:font typeface="Elevance Sans" pitchFamily="50" charset="0"/>
      <p:regular r:id="rId21"/>
      <p:bold r:id="rId22"/>
      <p:italic r:id="rId23"/>
      <p:boldItalic r:id="rId24"/>
    </p:embeddedFont>
    <p:embeddedFont>
      <p:font typeface="Elevance Sans Italic" panose="020B0604020202020204" charset="0"/>
      <p:bold r:id="rId25"/>
      <p:italic r:id="rId26"/>
      <p:boldItalic r:id="rId27"/>
    </p:embeddedFont>
    <p:embeddedFont>
      <p:font typeface="Elevance Sans Medium" pitchFamily="50" charset="0"/>
      <p:regular r:id="rId28"/>
      <p:italic r:id="rId29"/>
    </p:embeddedFont>
  </p:embeddedFontLst>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5259D4-978B-4152-A548-554B9282E568}" v="52" dt="2024-11-15T14:50:39.176"/>
    <p1510:client id="{D9DA243F-513E-4FD4-B875-27E2F490414C}" v="95" dt="2024-11-14T16:36:55.15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834" autoAdjust="0"/>
    <p:restoredTop sz="84444" autoAdjust="0"/>
  </p:normalViewPr>
  <p:slideViewPr>
    <p:cSldViewPr snapToGrid="0" snapToObjects="1">
      <p:cViewPr varScale="1">
        <p:scale>
          <a:sx n="69" d="100"/>
          <a:sy n="69" d="100"/>
        </p:scale>
        <p:origin x="1608" y="77"/>
      </p:cViewPr>
      <p:guideLst/>
    </p:cSldViewPr>
  </p:slideViewPr>
  <p:outlineViewPr>
    <p:cViewPr>
      <p:scale>
        <a:sx n="33" d="100"/>
        <a:sy n="33" d="100"/>
      </p:scale>
      <p:origin x="0" y="-51752"/>
    </p:cViewPr>
  </p:outlineViewPr>
  <p:notesTextViewPr>
    <p:cViewPr>
      <p:scale>
        <a:sx n="100" d="100"/>
        <a:sy n="100" d="100"/>
      </p:scale>
      <p:origin x="0" y="0"/>
    </p:cViewPr>
  </p:notesTextViewPr>
  <p:sorterViewPr>
    <p:cViewPr>
      <p:scale>
        <a:sx n="42" d="100"/>
        <a:sy n="42"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font" Target="fonts/font10.fntdata"/><Relationship Id="rId3" Type="http://schemas.openxmlformats.org/officeDocument/2006/relationships/customXml" Target="../customXml/item3.xml"/><Relationship Id="rId21" Type="http://schemas.openxmlformats.org/officeDocument/2006/relationships/font" Target="fonts/font5.fntdata"/><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8.fntdata"/><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7.fntdata"/><Relationship Id="rId28" Type="http://schemas.openxmlformats.org/officeDocument/2006/relationships/font" Target="fonts/font12.fntdata"/><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font" Target="fonts/font3.fntdata"/><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tags" Target="tags/tag1.xml"/><Relationship Id="rId35"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M, Roja" userId="3f7d0bc6-dbf6-4d6f-a169-d6fed478b298" providerId="ADAL" clId="{885259D4-978B-4152-A548-554B9282E568}"/>
    <pc:docChg chg="undo custSel addSld delSld modSld">
      <pc:chgData name="C.M, Roja" userId="3f7d0bc6-dbf6-4d6f-a169-d6fed478b298" providerId="ADAL" clId="{885259D4-978B-4152-A548-554B9282E568}" dt="2024-11-15T14:50:46.646" v="117" actId="255"/>
      <pc:docMkLst>
        <pc:docMk/>
      </pc:docMkLst>
      <pc:sldChg chg="addSp delSp modSp mod">
        <pc:chgData name="C.M, Roja" userId="3f7d0bc6-dbf6-4d6f-a169-d6fed478b298" providerId="ADAL" clId="{885259D4-978B-4152-A548-554B9282E568}" dt="2024-11-15T08:18:22.260" v="53" actId="14100"/>
        <pc:sldMkLst>
          <pc:docMk/>
          <pc:sldMk cId="1775526134" sldId="515"/>
        </pc:sldMkLst>
        <pc:spChg chg="add del mod">
          <ac:chgData name="C.M, Roja" userId="3f7d0bc6-dbf6-4d6f-a169-d6fed478b298" providerId="ADAL" clId="{885259D4-978B-4152-A548-554B9282E568}" dt="2024-11-15T08:16:26.961" v="12"/>
          <ac:spMkLst>
            <pc:docMk/>
            <pc:sldMk cId="1775526134" sldId="515"/>
            <ac:spMk id="4" creationId="{5FFD2CB0-BC24-6739-D5CE-A7B6DEAC5A8F}"/>
          </ac:spMkLst>
        </pc:spChg>
        <pc:spChg chg="add del mod">
          <ac:chgData name="C.M, Roja" userId="3f7d0bc6-dbf6-4d6f-a169-d6fed478b298" providerId="ADAL" clId="{885259D4-978B-4152-A548-554B9282E568}" dt="2024-11-15T08:17:02.318" v="26"/>
          <ac:spMkLst>
            <pc:docMk/>
            <pc:sldMk cId="1775526134" sldId="515"/>
            <ac:spMk id="9" creationId="{9A993BBB-F2A1-3156-515F-E6FAE0DD941C}"/>
          </ac:spMkLst>
        </pc:spChg>
        <pc:spChg chg="add del mod">
          <ac:chgData name="C.M, Roja" userId="3f7d0bc6-dbf6-4d6f-a169-d6fed478b298" providerId="ADAL" clId="{885259D4-978B-4152-A548-554B9282E568}" dt="2024-11-15T08:17:58.731" v="43"/>
          <ac:spMkLst>
            <pc:docMk/>
            <pc:sldMk cId="1775526134" sldId="515"/>
            <ac:spMk id="13" creationId="{F9AC1CF0-292D-C4F2-4055-1932F7F0DB2E}"/>
          </ac:spMkLst>
        </pc:spChg>
        <pc:graphicFrameChg chg="add mod modGraphic">
          <ac:chgData name="C.M, Roja" userId="3f7d0bc6-dbf6-4d6f-a169-d6fed478b298" providerId="ADAL" clId="{885259D4-978B-4152-A548-554B9282E568}" dt="2024-11-15T08:16:21.565" v="9"/>
          <ac:graphicFrameMkLst>
            <pc:docMk/>
            <pc:sldMk cId="1775526134" sldId="515"/>
            <ac:graphicFrameMk id="5" creationId="{66AAE3DF-D437-A91F-A27E-C779779965CA}"/>
          </ac:graphicFrameMkLst>
        </pc:graphicFrameChg>
        <pc:graphicFrameChg chg="add mod">
          <ac:chgData name="C.M, Roja" userId="3f7d0bc6-dbf6-4d6f-a169-d6fed478b298" providerId="ADAL" clId="{885259D4-978B-4152-A548-554B9282E568}" dt="2024-11-15T08:16:25.343" v="11"/>
          <ac:graphicFrameMkLst>
            <pc:docMk/>
            <pc:sldMk cId="1775526134" sldId="515"/>
            <ac:graphicFrameMk id="6" creationId="{1D265F73-3F0A-A9D7-9927-F5F9C1A2B127}"/>
          </ac:graphicFrameMkLst>
        </pc:graphicFrameChg>
        <pc:graphicFrameChg chg="add del mod modGraphic">
          <ac:chgData name="C.M, Roja" userId="3f7d0bc6-dbf6-4d6f-a169-d6fed478b298" providerId="ADAL" clId="{885259D4-978B-4152-A548-554B9282E568}" dt="2024-11-15T08:16:51.320" v="25" actId="478"/>
          <ac:graphicFrameMkLst>
            <pc:docMk/>
            <pc:sldMk cId="1775526134" sldId="515"/>
            <ac:graphicFrameMk id="7" creationId="{E57BA627-9CC1-8773-EAD2-54D0CC4FAFCD}"/>
          </ac:graphicFrameMkLst>
        </pc:graphicFrameChg>
        <pc:graphicFrameChg chg="del mod">
          <ac:chgData name="C.M, Roja" userId="3f7d0bc6-dbf6-4d6f-a169-d6fed478b298" providerId="ADAL" clId="{885259D4-978B-4152-A548-554B9282E568}" dt="2024-11-15T08:16:03.504" v="1" actId="478"/>
          <ac:graphicFrameMkLst>
            <pc:docMk/>
            <pc:sldMk cId="1775526134" sldId="515"/>
            <ac:graphicFrameMk id="10" creationId="{56B3DA12-EC8A-7F41-3562-80BF6E087523}"/>
          </ac:graphicFrameMkLst>
        </pc:graphicFrameChg>
        <pc:graphicFrameChg chg="add del mod modGraphic">
          <ac:chgData name="C.M, Roja" userId="3f7d0bc6-dbf6-4d6f-a169-d6fed478b298" providerId="ADAL" clId="{885259D4-978B-4152-A548-554B9282E568}" dt="2024-11-15T08:17:53.315" v="42" actId="478"/>
          <ac:graphicFrameMkLst>
            <pc:docMk/>
            <pc:sldMk cId="1775526134" sldId="515"/>
            <ac:graphicFrameMk id="11" creationId="{9FD7164F-C4DB-6379-D330-219180BA5D37}"/>
          </ac:graphicFrameMkLst>
        </pc:graphicFrameChg>
        <pc:graphicFrameChg chg="add mod modGraphic">
          <ac:chgData name="C.M, Roja" userId="3f7d0bc6-dbf6-4d6f-a169-d6fed478b298" providerId="ADAL" clId="{885259D4-978B-4152-A548-554B9282E568}" dt="2024-11-15T08:18:22.260" v="53" actId="14100"/>
          <ac:graphicFrameMkLst>
            <pc:docMk/>
            <pc:sldMk cId="1775526134" sldId="515"/>
            <ac:graphicFrameMk id="14" creationId="{DD696DBF-1B1C-D845-1FCA-27B5BF74BAC9}"/>
          </ac:graphicFrameMkLst>
        </pc:graphicFrameChg>
      </pc:sldChg>
      <pc:sldChg chg="addSp delSp modSp del mod">
        <pc:chgData name="C.M, Roja" userId="3f7d0bc6-dbf6-4d6f-a169-d6fed478b298" providerId="ADAL" clId="{885259D4-978B-4152-A548-554B9282E568}" dt="2024-11-15T08:33:40.458" v="94" actId="47"/>
        <pc:sldMkLst>
          <pc:docMk/>
          <pc:sldMk cId="1241041557" sldId="516"/>
        </pc:sldMkLst>
        <pc:spChg chg="add del mod">
          <ac:chgData name="C.M, Roja" userId="3f7d0bc6-dbf6-4d6f-a169-d6fed478b298" providerId="ADAL" clId="{885259D4-978B-4152-A548-554B9282E568}" dt="2024-11-15T08:24:08.023" v="56"/>
          <ac:spMkLst>
            <pc:docMk/>
            <pc:sldMk cId="1241041557" sldId="516"/>
            <ac:spMk id="4" creationId="{E1A55E5C-8AD4-F082-A2EF-6895AA9F249C}"/>
          </ac:spMkLst>
        </pc:spChg>
        <pc:graphicFrameChg chg="del">
          <ac:chgData name="C.M, Roja" userId="3f7d0bc6-dbf6-4d6f-a169-d6fed478b298" providerId="ADAL" clId="{885259D4-978B-4152-A548-554B9282E568}" dt="2024-11-15T08:24:02.997" v="54" actId="478"/>
          <ac:graphicFrameMkLst>
            <pc:docMk/>
            <pc:sldMk cId="1241041557" sldId="516"/>
            <ac:graphicFrameMk id="5" creationId="{4B215CE6-7F01-614F-F5B4-62183D41C45C}"/>
          </ac:graphicFrameMkLst>
        </pc:graphicFrameChg>
        <pc:graphicFrameChg chg="add mod">
          <ac:chgData name="C.M, Roja" userId="3f7d0bc6-dbf6-4d6f-a169-d6fed478b298" providerId="ADAL" clId="{885259D4-978B-4152-A548-554B9282E568}" dt="2024-11-15T08:26:26.132" v="88" actId="113"/>
          <ac:graphicFrameMkLst>
            <pc:docMk/>
            <pc:sldMk cId="1241041557" sldId="516"/>
            <ac:graphicFrameMk id="6" creationId="{5C573BC1-3634-105B-D49E-267459084AEE}"/>
          </ac:graphicFrameMkLst>
        </pc:graphicFrameChg>
        <pc:graphicFrameChg chg="add mod">
          <ac:chgData name="C.M, Roja" userId="3f7d0bc6-dbf6-4d6f-a169-d6fed478b298" providerId="ADAL" clId="{885259D4-978B-4152-A548-554B9282E568}" dt="2024-11-15T08:25:51.285" v="69"/>
          <ac:graphicFrameMkLst>
            <pc:docMk/>
            <pc:sldMk cId="1241041557" sldId="516"/>
            <ac:graphicFrameMk id="7" creationId="{9FF957F3-D65F-AFE6-B410-E4563FB9F825}"/>
          </ac:graphicFrameMkLst>
        </pc:graphicFrameChg>
      </pc:sldChg>
      <pc:sldChg chg="addSp delSp modSp mod">
        <pc:chgData name="C.M, Roja" userId="3f7d0bc6-dbf6-4d6f-a169-d6fed478b298" providerId="ADAL" clId="{885259D4-978B-4152-A548-554B9282E568}" dt="2024-11-15T08:37:27.061" v="99" actId="113"/>
        <pc:sldMkLst>
          <pc:docMk/>
          <pc:sldMk cId="753368045" sldId="533"/>
        </pc:sldMkLst>
        <pc:spChg chg="mod">
          <ac:chgData name="C.M, Roja" userId="3f7d0bc6-dbf6-4d6f-a169-d6fed478b298" providerId="ADAL" clId="{885259D4-978B-4152-A548-554B9282E568}" dt="2024-11-15T08:32:33.837" v="91" actId="1076"/>
          <ac:spMkLst>
            <pc:docMk/>
            <pc:sldMk cId="753368045" sldId="533"/>
            <ac:spMk id="2" creationId="{FF17EB81-E0C6-0479-DC96-3D190DA8823D}"/>
          </ac:spMkLst>
        </pc:spChg>
        <pc:spChg chg="add del mod">
          <ac:chgData name="C.M, Roja" userId="3f7d0bc6-dbf6-4d6f-a169-d6fed478b298" providerId="ADAL" clId="{885259D4-978B-4152-A548-554B9282E568}" dt="2024-11-15T08:33:31.372" v="93"/>
          <ac:spMkLst>
            <pc:docMk/>
            <pc:sldMk cId="753368045" sldId="533"/>
            <ac:spMk id="4" creationId="{2A9D5D72-DBB2-E1E4-5139-3D438F111857}"/>
          </ac:spMkLst>
        </pc:spChg>
        <pc:graphicFrameChg chg="add mod">
          <ac:chgData name="C.M, Roja" userId="3f7d0bc6-dbf6-4d6f-a169-d6fed478b298" providerId="ADAL" clId="{885259D4-978B-4152-A548-554B9282E568}" dt="2024-11-15T08:37:27.061" v="99" actId="113"/>
          <ac:graphicFrameMkLst>
            <pc:docMk/>
            <pc:sldMk cId="753368045" sldId="533"/>
            <ac:graphicFrameMk id="5" creationId="{5C573BC1-3634-105B-D49E-267459084AEE}"/>
          </ac:graphicFrameMkLst>
        </pc:graphicFrameChg>
        <pc:graphicFrameChg chg="del">
          <ac:chgData name="C.M, Roja" userId="3f7d0bc6-dbf6-4d6f-a169-d6fed478b298" providerId="ADAL" clId="{885259D4-978B-4152-A548-554B9282E568}" dt="2024-11-15T08:26:39.721" v="89" actId="478"/>
          <ac:graphicFrameMkLst>
            <pc:docMk/>
            <pc:sldMk cId="753368045" sldId="533"/>
            <ac:graphicFrameMk id="6" creationId="{DF6BED2D-4499-44D2-8580-AAF83633E134}"/>
          </ac:graphicFrameMkLst>
        </pc:graphicFrameChg>
      </pc:sldChg>
      <pc:sldChg chg="addSp delSp modSp mod">
        <pc:chgData name="C.M, Roja" userId="3f7d0bc6-dbf6-4d6f-a169-d6fed478b298" providerId="ADAL" clId="{885259D4-978B-4152-A548-554B9282E568}" dt="2024-11-15T14:50:27.586" v="114" actId="14734"/>
        <pc:sldMkLst>
          <pc:docMk/>
          <pc:sldMk cId="2554716796" sldId="534"/>
        </pc:sldMkLst>
        <pc:spChg chg="add del mod">
          <ac:chgData name="C.M, Roja" userId="3f7d0bc6-dbf6-4d6f-a169-d6fed478b298" providerId="ADAL" clId="{885259D4-978B-4152-A548-554B9282E568}" dt="2024-11-15T14:48:08.840" v="106"/>
          <ac:spMkLst>
            <pc:docMk/>
            <pc:sldMk cId="2554716796" sldId="534"/>
            <ac:spMk id="4" creationId="{8C9D9696-76E0-F043-8AF9-58BA99FA0C51}"/>
          </ac:spMkLst>
        </pc:spChg>
        <pc:graphicFrameChg chg="del">
          <ac:chgData name="C.M, Roja" userId="3f7d0bc6-dbf6-4d6f-a169-d6fed478b298" providerId="ADAL" clId="{885259D4-978B-4152-A548-554B9282E568}" dt="2024-11-15T14:48:06.032" v="105" actId="478"/>
          <ac:graphicFrameMkLst>
            <pc:docMk/>
            <pc:sldMk cId="2554716796" sldId="534"/>
            <ac:graphicFrameMk id="5" creationId="{B7846A21-98C0-AB04-A51B-8C8EFEB326F9}"/>
          </ac:graphicFrameMkLst>
        </pc:graphicFrameChg>
        <pc:graphicFrameChg chg="add mod modGraphic">
          <ac:chgData name="C.M, Roja" userId="3f7d0bc6-dbf6-4d6f-a169-d6fed478b298" providerId="ADAL" clId="{885259D4-978B-4152-A548-554B9282E568}" dt="2024-11-15T14:50:27.586" v="114" actId="14734"/>
          <ac:graphicFrameMkLst>
            <pc:docMk/>
            <pc:sldMk cId="2554716796" sldId="534"/>
            <ac:graphicFrameMk id="6" creationId="{D5614CE4-CE4D-3B30-FA63-D44EA2EA8949}"/>
          </ac:graphicFrameMkLst>
        </pc:graphicFrameChg>
      </pc:sldChg>
      <pc:sldChg chg="addSp delSp modSp mod">
        <pc:chgData name="C.M, Roja" userId="3f7d0bc6-dbf6-4d6f-a169-d6fed478b298" providerId="ADAL" clId="{885259D4-978B-4152-A548-554B9282E568}" dt="2024-11-15T14:50:46.646" v="117" actId="255"/>
        <pc:sldMkLst>
          <pc:docMk/>
          <pc:sldMk cId="298016164" sldId="535"/>
        </pc:sldMkLst>
        <pc:spChg chg="add del mod">
          <ac:chgData name="C.M, Roja" userId="3f7d0bc6-dbf6-4d6f-a169-d6fed478b298" providerId="ADAL" clId="{885259D4-978B-4152-A548-554B9282E568}" dt="2024-11-15T14:50:39.176" v="115"/>
          <ac:spMkLst>
            <pc:docMk/>
            <pc:sldMk cId="298016164" sldId="535"/>
            <ac:spMk id="4" creationId="{95427479-C334-E900-0F22-1D454A2B1C47}"/>
          </ac:spMkLst>
        </pc:spChg>
        <pc:graphicFrameChg chg="del">
          <ac:chgData name="C.M, Roja" userId="3f7d0bc6-dbf6-4d6f-a169-d6fed478b298" providerId="ADAL" clId="{885259D4-978B-4152-A548-554B9282E568}" dt="2024-11-15T14:48:28.394" v="109" actId="478"/>
          <ac:graphicFrameMkLst>
            <pc:docMk/>
            <pc:sldMk cId="298016164" sldId="535"/>
            <ac:graphicFrameMk id="5" creationId="{4C9C97F6-2725-385B-0876-B6603D4C0A2C}"/>
          </ac:graphicFrameMkLst>
        </pc:graphicFrameChg>
        <pc:graphicFrameChg chg="add mod modGraphic">
          <ac:chgData name="C.M, Roja" userId="3f7d0bc6-dbf6-4d6f-a169-d6fed478b298" providerId="ADAL" clId="{885259D4-978B-4152-A548-554B9282E568}" dt="2024-11-15T14:50:46.646" v="117" actId="255"/>
          <ac:graphicFrameMkLst>
            <pc:docMk/>
            <pc:sldMk cId="298016164" sldId="535"/>
            <ac:graphicFrameMk id="6" creationId="{195CAF2C-9F71-DE3E-1C53-B88F2D1C5927}"/>
          </ac:graphicFrameMkLst>
        </pc:graphicFrameChg>
      </pc:sldChg>
      <pc:sldChg chg="addSp delSp modSp new mod">
        <pc:chgData name="C.M, Roja" userId="3f7d0bc6-dbf6-4d6f-a169-d6fed478b298" providerId="ADAL" clId="{885259D4-978B-4152-A548-554B9282E568}" dt="2024-11-15T08:42:38.295" v="104" actId="113"/>
        <pc:sldMkLst>
          <pc:docMk/>
          <pc:sldMk cId="2565838742" sldId="536"/>
        </pc:sldMkLst>
        <pc:spChg chg="mod">
          <ac:chgData name="C.M, Roja" userId="3f7d0bc6-dbf6-4d6f-a169-d6fed478b298" providerId="ADAL" clId="{885259D4-978B-4152-A548-554B9282E568}" dt="2024-11-15T08:33:55.610" v="96"/>
          <ac:spMkLst>
            <pc:docMk/>
            <pc:sldMk cId="2565838742" sldId="536"/>
            <ac:spMk id="2" creationId="{92718D34-9A0D-6A6C-9B33-8983CE5BDC3E}"/>
          </ac:spMkLst>
        </pc:spChg>
        <pc:spChg chg="del">
          <ac:chgData name="C.M, Roja" userId="3f7d0bc6-dbf6-4d6f-a169-d6fed478b298" providerId="ADAL" clId="{885259D4-978B-4152-A548-554B9282E568}" dt="2024-11-15T08:42:20.610" v="101"/>
          <ac:spMkLst>
            <pc:docMk/>
            <pc:sldMk cId="2565838742" sldId="536"/>
            <ac:spMk id="3" creationId="{B2744F87-F894-5B26-F926-FB39DD68AC65}"/>
          </ac:spMkLst>
        </pc:spChg>
        <pc:spChg chg="del">
          <ac:chgData name="C.M, Roja" userId="3f7d0bc6-dbf6-4d6f-a169-d6fed478b298" providerId="ADAL" clId="{885259D4-978B-4152-A548-554B9282E568}" dt="2024-11-15T08:42:22.806" v="102" actId="478"/>
          <ac:spMkLst>
            <pc:docMk/>
            <pc:sldMk cId="2565838742" sldId="536"/>
            <ac:spMk id="4" creationId="{BC861F19-045F-CB50-8FE2-E1571A1BE82B}"/>
          </ac:spMkLst>
        </pc:spChg>
        <pc:graphicFrameChg chg="add mod">
          <ac:chgData name="C.M, Roja" userId="3f7d0bc6-dbf6-4d6f-a169-d6fed478b298" providerId="ADAL" clId="{885259D4-978B-4152-A548-554B9282E568}" dt="2024-11-15T08:42:38.295" v="104" actId="113"/>
          <ac:graphicFrameMkLst>
            <pc:docMk/>
            <pc:sldMk cId="2565838742" sldId="536"/>
            <ac:graphicFrameMk id="5" creationId="{209613E0-BF3D-F9EA-F1C6-B9FDA7C42CE5}"/>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80" b="1" i="0" u="none" strike="noStrike" kern="1200" spc="0" baseline="0">
                <a:solidFill>
                  <a:schemeClr val="tx1">
                    <a:lumMod val="65000"/>
                    <a:lumOff val="35000"/>
                  </a:schemeClr>
                </a:solidFill>
                <a:latin typeface="+mn-lt"/>
                <a:ea typeface="+mn-ea"/>
                <a:cs typeface="+mn-cs"/>
              </a:defRPr>
            </a:pPr>
            <a:r>
              <a:rPr lang="en-US" dirty="0"/>
              <a:t>IHAN  Results – Iteration_4_V1 VS Iteration_4_V3</a:t>
            </a:r>
          </a:p>
        </c:rich>
      </c:tx>
      <c:overlay val="0"/>
      <c:spPr>
        <a:noFill/>
        <a:ln>
          <a:noFill/>
        </a:ln>
        <a:effectLst/>
      </c:spPr>
      <c:txPr>
        <a:bodyPr rot="0" spcFirstLastPara="1" vertOverflow="ellipsis" vert="horz" wrap="square" anchor="ctr" anchorCtr="1"/>
        <a:lstStyle/>
        <a:p>
          <a:pPr>
            <a:defRPr sz="168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5!$B$1</c:f>
              <c:strCache>
                <c:ptCount val="1"/>
                <c:pt idx="0">
                  <c:v>ITER4_V1_OOT_COMPLETE_DATA_AUC</c:v>
                </c:pt>
              </c:strCache>
            </c:strRef>
          </c:tx>
          <c:spPr>
            <a:solidFill>
              <a:schemeClr val="accent1"/>
            </a:solidFill>
            <a:ln>
              <a:noFill/>
            </a:ln>
            <a:effectLst/>
          </c:spPr>
          <c:invertIfNegative val="0"/>
          <c:dLbls>
            <c:numFmt formatCode="0.00%" sourceLinked="0"/>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A$2:$A$6</c:f>
              <c:strCache>
                <c:ptCount val="5"/>
                <c:pt idx="0">
                  <c:v>IHAN_301</c:v>
                </c:pt>
                <c:pt idx="1">
                  <c:v>IHAN_201</c:v>
                </c:pt>
                <c:pt idx="2">
                  <c:v>IHAN_303</c:v>
                </c:pt>
                <c:pt idx="3">
                  <c:v>IHAN_3041</c:v>
                </c:pt>
                <c:pt idx="4">
                  <c:v>IHAN_4041</c:v>
                </c:pt>
              </c:strCache>
            </c:strRef>
          </c:cat>
          <c:val>
            <c:numRef>
              <c:f>Sheet5!$B$2:$B$6</c:f>
              <c:numCache>
                <c:formatCode>General</c:formatCode>
                <c:ptCount val="5"/>
                <c:pt idx="0">
                  <c:v>0.89580000000000004</c:v>
                </c:pt>
                <c:pt idx="1">
                  <c:v>0.87949999999999995</c:v>
                </c:pt>
                <c:pt idx="2">
                  <c:v>0.89929999999999999</c:v>
                </c:pt>
                <c:pt idx="3">
                  <c:v>0.90269999999999995</c:v>
                </c:pt>
                <c:pt idx="4">
                  <c:v>0.90049999999999997</c:v>
                </c:pt>
              </c:numCache>
            </c:numRef>
          </c:val>
          <c:extLst>
            <c:ext xmlns:c16="http://schemas.microsoft.com/office/drawing/2014/chart" uri="{C3380CC4-5D6E-409C-BE32-E72D297353CC}">
              <c16:uniqueId val="{00000000-79A9-44CB-8FF7-754FDC32D7F0}"/>
            </c:ext>
          </c:extLst>
        </c:ser>
        <c:ser>
          <c:idx val="1"/>
          <c:order val="1"/>
          <c:tx>
            <c:strRef>
              <c:f>Sheet5!$C$1</c:f>
              <c:strCache>
                <c:ptCount val="1"/>
                <c:pt idx="0">
                  <c:v>ITER4_V3_OOT_COMPLETE_DATA_AUC</c:v>
                </c:pt>
              </c:strCache>
            </c:strRef>
          </c:tx>
          <c:spPr>
            <a:solidFill>
              <a:schemeClr val="accent3"/>
            </a:solidFill>
            <a:ln>
              <a:noFill/>
            </a:ln>
            <a:effectLst/>
          </c:spPr>
          <c:invertIfNegative val="0"/>
          <c:dLbls>
            <c:numFmt formatCode="0.00%" sourceLinked="0"/>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A$2:$A$6</c:f>
              <c:strCache>
                <c:ptCount val="5"/>
                <c:pt idx="0">
                  <c:v>IHAN_301</c:v>
                </c:pt>
                <c:pt idx="1">
                  <c:v>IHAN_201</c:v>
                </c:pt>
                <c:pt idx="2">
                  <c:v>IHAN_303</c:v>
                </c:pt>
                <c:pt idx="3">
                  <c:v>IHAN_3041</c:v>
                </c:pt>
                <c:pt idx="4">
                  <c:v>IHAN_4041</c:v>
                </c:pt>
              </c:strCache>
            </c:strRef>
          </c:cat>
          <c:val>
            <c:numRef>
              <c:f>Sheet5!$C$2:$C$6</c:f>
              <c:numCache>
                <c:formatCode>General</c:formatCode>
                <c:ptCount val="5"/>
                <c:pt idx="0">
                  <c:v>0.82010000000000005</c:v>
                </c:pt>
                <c:pt idx="1">
                  <c:v>0.81950000000000001</c:v>
                </c:pt>
                <c:pt idx="2">
                  <c:v>0.81830000000000003</c:v>
                </c:pt>
                <c:pt idx="3">
                  <c:v>0.82489999999999997</c:v>
                </c:pt>
                <c:pt idx="4">
                  <c:v>0.82369999999999999</c:v>
                </c:pt>
              </c:numCache>
            </c:numRef>
          </c:val>
          <c:extLst>
            <c:ext xmlns:c16="http://schemas.microsoft.com/office/drawing/2014/chart" uri="{C3380CC4-5D6E-409C-BE32-E72D297353CC}">
              <c16:uniqueId val="{00000001-79A9-44CB-8FF7-754FDC32D7F0}"/>
            </c:ext>
          </c:extLst>
        </c:ser>
        <c:dLbls>
          <c:showLegendKey val="0"/>
          <c:showVal val="0"/>
          <c:showCatName val="0"/>
          <c:showSerName val="0"/>
          <c:showPercent val="0"/>
          <c:showBubbleSize val="0"/>
        </c:dLbls>
        <c:gapWidth val="219"/>
        <c:overlap val="-27"/>
        <c:axId val="765545096"/>
        <c:axId val="765549416"/>
      </c:barChart>
      <c:catAx>
        <c:axId val="765545096"/>
        <c:scaling>
          <c:orientation val="minMax"/>
        </c:scaling>
        <c:delete val="0"/>
        <c:axPos val="b"/>
        <c:numFmt formatCode="0.0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765549416"/>
        <c:crosses val="autoZero"/>
        <c:auto val="1"/>
        <c:lblAlgn val="ctr"/>
        <c:lblOffset val="100"/>
        <c:noMultiLvlLbl val="0"/>
      </c:catAx>
      <c:valAx>
        <c:axId val="765549416"/>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7655450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sz="1440" b="1" i="0" u="none" strike="noStrike" kern="1200" spc="0" baseline="0">
                <a:solidFill>
                  <a:schemeClr val="tx1">
                    <a:lumMod val="65000"/>
                    <a:lumOff val="35000"/>
                  </a:schemeClr>
                </a:solidFill>
                <a:latin typeface="+mn-lt"/>
                <a:ea typeface="+mn-ea"/>
                <a:cs typeface="+mn-cs"/>
              </a:defRPr>
            </a:pPr>
            <a:r>
              <a:rPr lang="en-US"/>
              <a:t>IHAN  Results – Iteration_4_V1 VS Iteration_4_V3</a:t>
            </a:r>
          </a:p>
        </c:rich>
      </c:tx>
      <c:overlay val="0"/>
      <c:spPr>
        <a:noFill/>
        <a:ln>
          <a:noFill/>
        </a:ln>
        <a:effectLst/>
      </c:spPr>
      <c:txPr>
        <a:bodyPr rot="0" spcFirstLastPara="1" vertOverflow="ellipsis" vert="horz" wrap="square" anchor="ctr" anchorCtr="1"/>
        <a:lstStyle/>
        <a:p>
          <a:pPr algn="ctr" rtl="0">
            <a:defRPr sz="144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5!$B$1</c:f>
              <c:strCache>
                <c:ptCount val="1"/>
                <c:pt idx="0">
                  <c:v>ITER4_V1_OOT_1ST_6MNTH_AUC</c:v>
                </c:pt>
              </c:strCache>
            </c:strRef>
          </c:tx>
          <c:spPr>
            <a:solidFill>
              <a:schemeClr val="accent1"/>
            </a:solidFill>
            <a:ln>
              <a:noFill/>
            </a:ln>
            <a:effectLst/>
          </c:spPr>
          <c:invertIfNegative val="0"/>
          <c:dLbls>
            <c:numFmt formatCode="0.00%"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A$2:$A$6</c:f>
              <c:strCache>
                <c:ptCount val="5"/>
                <c:pt idx="0">
                  <c:v>IHAN_301</c:v>
                </c:pt>
                <c:pt idx="1">
                  <c:v>IHAN_201</c:v>
                </c:pt>
                <c:pt idx="2">
                  <c:v>IHAN_303</c:v>
                </c:pt>
                <c:pt idx="3">
                  <c:v>IHAN_3041</c:v>
                </c:pt>
                <c:pt idx="4">
                  <c:v>IHAN_4041</c:v>
                </c:pt>
              </c:strCache>
            </c:strRef>
          </c:cat>
          <c:val>
            <c:numRef>
              <c:f>Sheet5!$B$2:$B$6</c:f>
              <c:numCache>
                <c:formatCode>General</c:formatCode>
                <c:ptCount val="5"/>
                <c:pt idx="0">
                  <c:v>0.90359999999999996</c:v>
                </c:pt>
                <c:pt idx="1">
                  <c:v>0.88670000000000004</c:v>
                </c:pt>
                <c:pt idx="2">
                  <c:v>0.90629999999999999</c:v>
                </c:pt>
                <c:pt idx="3">
                  <c:v>0.90900000000000003</c:v>
                </c:pt>
                <c:pt idx="4">
                  <c:v>0.90749999999999997</c:v>
                </c:pt>
              </c:numCache>
            </c:numRef>
          </c:val>
          <c:extLst>
            <c:ext xmlns:c16="http://schemas.microsoft.com/office/drawing/2014/chart" uri="{C3380CC4-5D6E-409C-BE32-E72D297353CC}">
              <c16:uniqueId val="{00000000-BD25-4845-93EF-4D29C75EF692}"/>
            </c:ext>
          </c:extLst>
        </c:ser>
        <c:ser>
          <c:idx val="1"/>
          <c:order val="1"/>
          <c:tx>
            <c:strRef>
              <c:f>Sheet5!$C$1</c:f>
              <c:strCache>
                <c:ptCount val="1"/>
                <c:pt idx="0">
                  <c:v>ITER4_V3_OOT_1ST_6MNTH_AUC</c:v>
                </c:pt>
              </c:strCache>
            </c:strRef>
          </c:tx>
          <c:spPr>
            <a:solidFill>
              <a:schemeClr val="accent2"/>
            </a:solidFill>
            <a:ln>
              <a:noFill/>
            </a:ln>
            <a:effectLst/>
          </c:spPr>
          <c:invertIfNegative val="0"/>
          <c:dLbls>
            <c:numFmt formatCode="0.00%"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A$2:$A$6</c:f>
              <c:strCache>
                <c:ptCount val="5"/>
                <c:pt idx="0">
                  <c:v>IHAN_301</c:v>
                </c:pt>
                <c:pt idx="1">
                  <c:v>IHAN_201</c:v>
                </c:pt>
                <c:pt idx="2">
                  <c:v>IHAN_303</c:v>
                </c:pt>
                <c:pt idx="3">
                  <c:v>IHAN_3041</c:v>
                </c:pt>
                <c:pt idx="4">
                  <c:v>IHAN_4041</c:v>
                </c:pt>
              </c:strCache>
            </c:strRef>
          </c:cat>
          <c:val>
            <c:numRef>
              <c:f>Sheet5!$C$2:$C$6</c:f>
              <c:numCache>
                <c:formatCode>General</c:formatCode>
                <c:ptCount val="5"/>
                <c:pt idx="0">
                  <c:v>0.82620000000000005</c:v>
                </c:pt>
                <c:pt idx="1">
                  <c:v>0.82540000000000002</c:v>
                </c:pt>
                <c:pt idx="2">
                  <c:v>0.8246</c:v>
                </c:pt>
                <c:pt idx="3">
                  <c:v>0.82830000000000004</c:v>
                </c:pt>
                <c:pt idx="4">
                  <c:v>0.82789999999999997</c:v>
                </c:pt>
              </c:numCache>
            </c:numRef>
          </c:val>
          <c:extLst>
            <c:ext xmlns:c16="http://schemas.microsoft.com/office/drawing/2014/chart" uri="{C3380CC4-5D6E-409C-BE32-E72D297353CC}">
              <c16:uniqueId val="{00000001-BD25-4845-93EF-4D29C75EF692}"/>
            </c:ext>
          </c:extLst>
        </c:ser>
        <c:ser>
          <c:idx val="2"/>
          <c:order val="2"/>
          <c:tx>
            <c:strRef>
              <c:f>Sheet5!$D$1</c:f>
              <c:strCache>
                <c:ptCount val="1"/>
                <c:pt idx="0">
                  <c:v>ITER4_V1_OOT_LAST_3MNTH_AUC</c:v>
                </c:pt>
              </c:strCache>
            </c:strRef>
          </c:tx>
          <c:spPr>
            <a:solidFill>
              <a:schemeClr val="accent3"/>
            </a:solidFill>
            <a:ln>
              <a:noFill/>
            </a:ln>
            <a:effectLst/>
          </c:spPr>
          <c:invertIfNegative val="0"/>
          <c:dLbls>
            <c:numFmt formatCode="0.00%"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A$2:$A$6</c:f>
              <c:strCache>
                <c:ptCount val="5"/>
                <c:pt idx="0">
                  <c:v>IHAN_301</c:v>
                </c:pt>
                <c:pt idx="1">
                  <c:v>IHAN_201</c:v>
                </c:pt>
                <c:pt idx="2">
                  <c:v>IHAN_303</c:v>
                </c:pt>
                <c:pt idx="3">
                  <c:v>IHAN_3041</c:v>
                </c:pt>
                <c:pt idx="4">
                  <c:v>IHAN_4041</c:v>
                </c:pt>
              </c:strCache>
            </c:strRef>
          </c:cat>
          <c:val>
            <c:numRef>
              <c:f>Sheet5!$D$2:$D$6</c:f>
              <c:numCache>
                <c:formatCode>General</c:formatCode>
                <c:ptCount val="5"/>
                <c:pt idx="0">
                  <c:v>0.87429999999999997</c:v>
                </c:pt>
                <c:pt idx="1">
                  <c:v>0.85950000000000004</c:v>
                </c:pt>
                <c:pt idx="2">
                  <c:v>0.88090000000000002</c:v>
                </c:pt>
                <c:pt idx="3">
                  <c:v>0.88539999999999996</c:v>
                </c:pt>
                <c:pt idx="4">
                  <c:v>0.88119999999999998</c:v>
                </c:pt>
              </c:numCache>
            </c:numRef>
          </c:val>
          <c:extLst>
            <c:ext xmlns:c16="http://schemas.microsoft.com/office/drawing/2014/chart" uri="{C3380CC4-5D6E-409C-BE32-E72D297353CC}">
              <c16:uniqueId val="{00000002-BD25-4845-93EF-4D29C75EF692}"/>
            </c:ext>
          </c:extLst>
        </c:ser>
        <c:ser>
          <c:idx val="3"/>
          <c:order val="3"/>
          <c:tx>
            <c:strRef>
              <c:f>Sheet5!$E$1</c:f>
              <c:strCache>
                <c:ptCount val="1"/>
                <c:pt idx="0">
                  <c:v>ITER4_V3_OOT_LAST_3MNTH_AUC</c:v>
                </c:pt>
              </c:strCache>
            </c:strRef>
          </c:tx>
          <c:spPr>
            <a:solidFill>
              <a:schemeClr val="accent4"/>
            </a:solidFill>
            <a:ln>
              <a:noFill/>
            </a:ln>
            <a:effectLst/>
          </c:spPr>
          <c:invertIfNegative val="0"/>
          <c:dLbls>
            <c:numFmt formatCode="0.00%"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A$2:$A$6</c:f>
              <c:strCache>
                <c:ptCount val="5"/>
                <c:pt idx="0">
                  <c:v>IHAN_301</c:v>
                </c:pt>
                <c:pt idx="1">
                  <c:v>IHAN_201</c:v>
                </c:pt>
                <c:pt idx="2">
                  <c:v>IHAN_303</c:v>
                </c:pt>
                <c:pt idx="3">
                  <c:v>IHAN_3041</c:v>
                </c:pt>
                <c:pt idx="4">
                  <c:v>IHAN_4041</c:v>
                </c:pt>
              </c:strCache>
            </c:strRef>
          </c:cat>
          <c:val>
            <c:numRef>
              <c:f>Sheet5!$E$2:$E$6</c:f>
              <c:numCache>
                <c:formatCode>General</c:formatCode>
                <c:ptCount val="5"/>
                <c:pt idx="0">
                  <c:v>0.80230000000000001</c:v>
                </c:pt>
                <c:pt idx="1">
                  <c:v>0.80300000000000005</c:v>
                </c:pt>
                <c:pt idx="2">
                  <c:v>0.80020000000000002</c:v>
                </c:pt>
                <c:pt idx="3">
                  <c:v>0.81510000000000005</c:v>
                </c:pt>
                <c:pt idx="4">
                  <c:v>0.8125</c:v>
                </c:pt>
              </c:numCache>
            </c:numRef>
          </c:val>
          <c:extLst>
            <c:ext xmlns:c16="http://schemas.microsoft.com/office/drawing/2014/chart" uri="{C3380CC4-5D6E-409C-BE32-E72D297353CC}">
              <c16:uniqueId val="{00000003-BD25-4845-93EF-4D29C75EF692}"/>
            </c:ext>
          </c:extLst>
        </c:ser>
        <c:dLbls>
          <c:dLblPos val="outEnd"/>
          <c:showLegendKey val="0"/>
          <c:showVal val="1"/>
          <c:showCatName val="0"/>
          <c:showSerName val="0"/>
          <c:showPercent val="0"/>
          <c:showBubbleSize val="0"/>
        </c:dLbls>
        <c:gapWidth val="219"/>
        <c:overlap val="-27"/>
        <c:axId val="765532496"/>
        <c:axId val="494377208"/>
      </c:barChart>
      <c:catAx>
        <c:axId val="765532496"/>
        <c:scaling>
          <c:orientation val="minMax"/>
        </c:scaling>
        <c:delete val="0"/>
        <c:axPos val="b"/>
        <c:numFmt formatCode="0.0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494377208"/>
        <c:crosses val="autoZero"/>
        <c:auto val="1"/>
        <c:lblAlgn val="ctr"/>
        <c:lblOffset val="100"/>
        <c:noMultiLvlLbl val="0"/>
      </c:catAx>
      <c:valAx>
        <c:axId val="494377208"/>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7655324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Elevance Sans" pitchFamily="2" charset="77"/>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Elevance Sans" pitchFamily="2" charset="77"/>
              </a:defRPr>
            </a:lvl1pPr>
          </a:lstStyle>
          <a:p>
            <a:fld id="{40C36D6C-D64D-5C49-BA05-1247137E2D8B}" type="datetimeFigureOut">
              <a:rPr lang="en-US" smtClean="0"/>
              <a:pPr/>
              <a:t>11/15/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Elevance Sans" pitchFamily="2" charset="77"/>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Elevance Sans" pitchFamily="2" charset="77"/>
              </a:defRPr>
            </a:lvl1pPr>
          </a:lstStyle>
          <a:p>
            <a:fld id="{FF050AAF-C99E-5E47-BF9E-3FBCE85A751F}" type="slidenum">
              <a:rPr lang="en-US" smtClean="0"/>
              <a:pPr/>
              <a:t>‹#›</a:t>
            </a:fld>
            <a:endParaRPr lang="en-US" dirty="0"/>
          </a:p>
        </p:txBody>
      </p:sp>
    </p:spTree>
    <p:extLst>
      <p:ext uri="{BB962C8B-B14F-4D97-AF65-F5344CB8AC3E}">
        <p14:creationId xmlns:p14="http://schemas.microsoft.com/office/powerpoint/2010/main" val="4186845624"/>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Elevance Sans" pitchFamily="2" charset="77"/>
        <a:ea typeface="+mn-ea"/>
        <a:cs typeface="+mn-cs"/>
      </a:defRPr>
    </a:lvl1pPr>
    <a:lvl2pPr marL="457200" algn="l" defTabSz="914400" rtl="0" eaLnBrk="1" latinLnBrk="0" hangingPunct="1">
      <a:defRPr sz="1200" b="0" i="0" kern="1200">
        <a:solidFill>
          <a:schemeClr val="tx1"/>
        </a:solidFill>
        <a:latin typeface="Elevance Sans" pitchFamily="2" charset="77"/>
        <a:ea typeface="+mn-ea"/>
        <a:cs typeface="+mn-cs"/>
      </a:defRPr>
    </a:lvl2pPr>
    <a:lvl3pPr marL="914400" algn="l" defTabSz="914400" rtl="0" eaLnBrk="1" latinLnBrk="0" hangingPunct="1">
      <a:defRPr sz="1200" b="0" i="0" kern="1200">
        <a:solidFill>
          <a:schemeClr val="tx1"/>
        </a:solidFill>
        <a:latin typeface="Elevance Sans" pitchFamily="2" charset="77"/>
        <a:ea typeface="+mn-ea"/>
        <a:cs typeface="+mn-cs"/>
      </a:defRPr>
    </a:lvl3pPr>
    <a:lvl4pPr marL="1371600" algn="l" defTabSz="914400" rtl="0" eaLnBrk="1" latinLnBrk="0" hangingPunct="1">
      <a:defRPr sz="1200" b="0" i="0" kern="1200">
        <a:solidFill>
          <a:schemeClr val="tx1"/>
        </a:solidFill>
        <a:latin typeface="Elevance Sans" pitchFamily="2" charset="77"/>
        <a:ea typeface="+mn-ea"/>
        <a:cs typeface="+mn-cs"/>
      </a:defRPr>
    </a:lvl4pPr>
    <a:lvl5pPr marL="1828800" algn="l" defTabSz="914400" rtl="0" eaLnBrk="1" latinLnBrk="0" hangingPunct="1">
      <a:defRPr sz="1200" b="0" i="0" kern="1200">
        <a:solidFill>
          <a:schemeClr val="tx1"/>
        </a:solidFill>
        <a:latin typeface="Elevance Sans"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mj-lt"/>
              <a:buAutoNum type="arabicPeriod"/>
            </a:pPr>
            <a:r>
              <a:rPr lang="en-US" dirty="0"/>
              <a:t>The training dataset contains records from January 1, 2022, to December 31, 2023, with a total of 332,452 patients. Out of these:</a:t>
            </a:r>
          </a:p>
          <a:p>
            <a:pPr lvl="1">
              <a:buFont typeface="Arial" panose="020B0604020202020204" pitchFamily="34" charset="0"/>
              <a:buChar char="•"/>
            </a:pPr>
            <a:r>
              <a:rPr lang="en-US" dirty="0"/>
              <a:t>Target 1 (positive cases): 15,442 patients, making up 4.30% of the data</a:t>
            </a:r>
          </a:p>
          <a:p>
            <a:pPr lvl="1">
              <a:buFont typeface="Arial" panose="020B0604020202020204" pitchFamily="34" charset="0"/>
              <a:buChar char="•"/>
            </a:pPr>
            <a:r>
              <a:rPr lang="en-US" dirty="0"/>
              <a:t>Target 0 (negative cases): 341,449 patients, making up 95.70% of the data</a:t>
            </a:r>
          </a:p>
          <a:p>
            <a:pPr lvl="1">
              <a:buFont typeface="Arial" panose="020B0604020202020204" pitchFamily="34" charset="0"/>
              <a:buChar char="•"/>
            </a:pPr>
            <a:endParaRPr lang="en-US" dirty="0"/>
          </a:p>
          <a:p>
            <a:pPr>
              <a:buFont typeface="+mj-lt"/>
              <a:buAutoNum type="arabicPeriod" startAt="2"/>
            </a:pPr>
            <a:r>
              <a:rPr lang="en-US" dirty="0"/>
              <a:t>Balancing the Data:</a:t>
            </a:r>
          </a:p>
          <a:p>
            <a:pPr lvl="1">
              <a:buFont typeface="Arial" panose="020B0604020202020204" pitchFamily="34" charset="0"/>
              <a:buChar char="•"/>
            </a:pPr>
            <a:r>
              <a:rPr lang="en-US" dirty="0"/>
              <a:t>To achieve a balanced 5:95 ratio of Target 1 to Target 0, we kept all 15,442 Target 1 members (5% of the balanced dataset)</a:t>
            </a:r>
          </a:p>
          <a:p>
            <a:pPr lvl="1">
              <a:buFont typeface="Arial" panose="020B0604020202020204" pitchFamily="34" charset="0"/>
              <a:buChar char="•"/>
            </a:pPr>
            <a:r>
              <a:rPr lang="en-US" dirty="0"/>
              <a:t>For Target 0, we selected 293,397 members (95% of the balanced dataset)</a:t>
            </a:r>
          </a:p>
          <a:p>
            <a:pPr lvl="1">
              <a:buFont typeface="Arial" panose="020B0604020202020204" pitchFamily="34" charset="0"/>
              <a:buChar char="•"/>
            </a:pPr>
            <a:r>
              <a:rPr lang="en-US" dirty="0"/>
              <a:t>This gave us a balanced training set with 308,839 patients: 5% Target 1 and 95% Target 0</a:t>
            </a:r>
          </a:p>
          <a:p>
            <a:pPr>
              <a:buFont typeface="Arial" panose="020B0604020202020204" pitchFamily="34" charset="0"/>
              <a:buChar char="•"/>
            </a:pPr>
            <a:endParaRPr lang="en-US" dirty="0"/>
          </a:p>
          <a:p>
            <a:pPr>
              <a:buFont typeface="+mj-lt"/>
              <a:buAutoNum type="arabicPeriod" startAt="3"/>
            </a:pPr>
            <a:r>
              <a:rPr lang="en-US" dirty="0"/>
              <a:t>Splitting the Training Data:</a:t>
            </a:r>
          </a:p>
          <a:p>
            <a:pPr lvl="1">
              <a:buFont typeface="Arial" panose="020B0604020202020204" pitchFamily="34" charset="0"/>
              <a:buChar char="•"/>
            </a:pPr>
            <a:r>
              <a:rPr lang="en-US" dirty="0"/>
              <a:t>The data was split into Train Data (75%): 231,629 records</a:t>
            </a:r>
          </a:p>
          <a:p>
            <a:pPr lvl="1">
              <a:buFont typeface="Arial" panose="020B0604020202020204" pitchFamily="34" charset="0"/>
              <a:buChar char="•"/>
            </a:pPr>
            <a:r>
              <a:rPr lang="en-US" dirty="0"/>
              <a:t>Validation Data (25%): 77,210 records, to train and validate the model</a:t>
            </a:r>
          </a:p>
          <a:p>
            <a:pPr>
              <a:buFont typeface="Arial" panose="020B0604020202020204" pitchFamily="34" charset="0"/>
              <a:buChar char="•"/>
            </a:pPr>
            <a:endParaRPr lang="en-US" dirty="0"/>
          </a:p>
          <a:p>
            <a:pPr>
              <a:buFont typeface="+mj-lt"/>
              <a:buAutoNum type="arabicPeriod" startAt="4"/>
            </a:pPr>
            <a:r>
              <a:rPr lang="en-US" dirty="0"/>
              <a:t>Out-of-Time (OOT) Validation Data:</a:t>
            </a:r>
          </a:p>
          <a:p>
            <a:pPr lvl="1">
              <a:buFont typeface="Arial" panose="020B0604020202020204" pitchFamily="34" charset="0"/>
              <a:buChar char="•"/>
            </a:pPr>
            <a:r>
              <a:rPr lang="en-US" dirty="0"/>
              <a:t>The OOT table covers the period from January 1, 2024 to September 30, 2024</a:t>
            </a:r>
          </a:p>
          <a:p>
            <a:pPr lvl="1">
              <a:buFont typeface="Arial" panose="020B0604020202020204" pitchFamily="34" charset="0"/>
              <a:buChar char="•"/>
            </a:pPr>
            <a:r>
              <a:rPr lang="en-US" dirty="0"/>
              <a:t>Total patients in OOT table: 131,602 patients</a:t>
            </a:r>
          </a:p>
          <a:p>
            <a:pPr lvl="1">
              <a:buFont typeface="Arial" panose="020B0604020202020204" pitchFamily="34" charset="0"/>
              <a:buChar char="•"/>
            </a:pPr>
            <a:r>
              <a:rPr lang="en-US" dirty="0"/>
              <a:t>Within this OOT data: </a:t>
            </a:r>
          </a:p>
          <a:p>
            <a:pPr marL="1200150" lvl="2" indent="-285750">
              <a:buFont typeface="Arial" panose="020B0604020202020204" pitchFamily="34" charset="0"/>
              <a:buChar char="•"/>
            </a:pPr>
            <a:r>
              <a:rPr lang="en-US" dirty="0"/>
              <a:t>Target 1: 5,267 patients</a:t>
            </a:r>
          </a:p>
          <a:p>
            <a:pPr marL="1200150" lvl="2" indent="-285750">
              <a:buFont typeface="Arial" panose="020B0604020202020204" pitchFamily="34" charset="0"/>
              <a:buChar char="•"/>
            </a:pPr>
            <a:r>
              <a:rPr lang="en-US" dirty="0"/>
              <a:t>Target 0: 126,335 patients</a:t>
            </a:r>
          </a:p>
          <a:p>
            <a:pPr marL="742950" lvl="1" indent="-285750">
              <a:buFont typeface="Arial" panose="020B0604020202020204" pitchFamily="34" charset="0"/>
              <a:buChar char="•"/>
            </a:pPr>
            <a:endParaRPr lang="en-US" dirty="0"/>
          </a:p>
          <a:p>
            <a:pPr>
              <a:buFont typeface="+mj-lt"/>
              <a:buAutoNum type="arabicPeriod" startAt="5"/>
            </a:pPr>
            <a:r>
              <a:rPr lang="en-US" dirty="0"/>
              <a:t>Future OOT Split based on Baby's DOB:</a:t>
            </a:r>
          </a:p>
          <a:p>
            <a:pPr lvl="1">
              <a:buFont typeface="Arial" panose="020B0604020202020204" pitchFamily="34" charset="0"/>
              <a:buChar char="•"/>
            </a:pPr>
            <a:r>
              <a:rPr lang="en-US" dirty="0"/>
              <a:t>Jan-Jun 2024 OOT Table: 87,437 patients</a:t>
            </a:r>
          </a:p>
          <a:p>
            <a:pPr lvl="1">
              <a:buFont typeface="Arial" panose="020B0604020202020204" pitchFamily="34" charset="0"/>
              <a:buChar char="•"/>
            </a:pPr>
            <a:r>
              <a:rPr lang="en-US" dirty="0"/>
              <a:t>Jul-Sep 2024 OOT Table: 44,165 patient</a:t>
            </a:r>
          </a:p>
          <a:p>
            <a:pPr>
              <a:buFont typeface="Arial" panose="020B0604020202020204" pitchFamily="34" charset="0"/>
              <a:buChar char="•"/>
            </a:pPr>
            <a:endParaRPr lang="en-US" dirty="0"/>
          </a:p>
          <a:p>
            <a:pPr marL="0" indent="0">
              <a:buNone/>
            </a:pPr>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pPr/>
              <a:t>2</a:t>
            </a:fld>
            <a:endParaRPr lang="en-US" dirty="0"/>
          </a:p>
        </p:txBody>
      </p:sp>
    </p:spTree>
    <p:extLst>
      <p:ext uri="{BB962C8B-B14F-4D97-AF65-F5344CB8AC3E}">
        <p14:creationId xmlns:p14="http://schemas.microsoft.com/office/powerpoint/2010/main" val="30887780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800" kern="0" dirty="0">
                <a:effectLst/>
                <a:latin typeface="Aptos" panose="020B0004020202020204" pitchFamily="34" charset="0"/>
                <a:ea typeface="Aptos" panose="020B0004020202020204" pitchFamily="34" charset="0"/>
                <a:cs typeface="Aptos" panose="020B0004020202020204" pitchFamily="34" charset="0"/>
              </a:rPr>
              <a:t>1.The training dataset contains records from January 1, 2022, to December 31, 2023, with a total of 332,452 patients.</a:t>
            </a:r>
          </a:p>
          <a:p>
            <a:pPr marL="0" indent="0">
              <a:buNone/>
            </a:pPr>
            <a:r>
              <a:rPr lang="en-US" sz="1800" kern="0" dirty="0">
                <a:effectLst/>
                <a:latin typeface="Aptos" panose="020B0004020202020204" pitchFamily="34" charset="0"/>
                <a:ea typeface="Aptos" panose="020B0004020202020204" pitchFamily="34" charset="0"/>
                <a:cs typeface="Aptos" panose="020B0004020202020204" pitchFamily="34" charset="0"/>
              </a:rPr>
              <a:t> Out of these: • Target 1 (positive cases): 14,018 patients, making up 4.2% of the data. • Target 0 (negative cases): 318,434 patients, making up 95.8% of the data. </a:t>
            </a:r>
          </a:p>
          <a:p>
            <a:pPr marL="0" indent="0">
              <a:buNone/>
            </a:pPr>
            <a:endParaRPr lang="en-US" sz="1800" kern="0" dirty="0">
              <a:effectLst/>
              <a:latin typeface="Aptos" panose="020B0004020202020204" pitchFamily="34" charset="0"/>
              <a:ea typeface="Aptos" panose="020B0004020202020204" pitchFamily="34" charset="0"/>
              <a:cs typeface="Aptos" panose="020B0004020202020204" pitchFamily="34" charset="0"/>
            </a:endParaRPr>
          </a:p>
          <a:p>
            <a:pPr marL="0" indent="0">
              <a:buNone/>
            </a:pPr>
            <a:r>
              <a:rPr lang="en-US" sz="1800" kern="0" dirty="0">
                <a:effectLst/>
                <a:latin typeface="Aptos" panose="020B0004020202020204" pitchFamily="34" charset="0"/>
                <a:ea typeface="Aptos" panose="020B0004020202020204" pitchFamily="34" charset="0"/>
                <a:cs typeface="Aptos" panose="020B0004020202020204" pitchFamily="34" charset="0"/>
              </a:rPr>
              <a:t>2. Balancing the Data: </a:t>
            </a:r>
          </a:p>
          <a:p>
            <a:pPr marL="0" indent="0">
              <a:buNone/>
            </a:pPr>
            <a:r>
              <a:rPr lang="en-US" sz="1800" kern="0" dirty="0">
                <a:effectLst/>
                <a:latin typeface="Aptos" panose="020B0004020202020204" pitchFamily="34" charset="0"/>
                <a:ea typeface="Aptos" panose="020B0004020202020204" pitchFamily="34" charset="0"/>
                <a:cs typeface="Aptos" panose="020B0004020202020204" pitchFamily="34" charset="0"/>
              </a:rPr>
              <a:t>• To achieve a balanced 5:95 ratio of Target 1 to Target 0, we used all 14,018 Target 1 members (5% of the balanced dataset). </a:t>
            </a:r>
          </a:p>
          <a:p>
            <a:pPr marL="0" indent="0">
              <a:buNone/>
            </a:pPr>
            <a:r>
              <a:rPr lang="en-US" sz="1800" kern="0" dirty="0">
                <a:effectLst/>
                <a:latin typeface="Aptos" panose="020B0004020202020204" pitchFamily="34" charset="0"/>
                <a:ea typeface="Aptos" panose="020B0004020202020204" pitchFamily="34" charset="0"/>
                <a:cs typeface="Aptos" panose="020B0004020202020204" pitchFamily="34" charset="0"/>
              </a:rPr>
              <a:t>• For Target 0, we calculated 19 times the Target 1 count (14,018 x 19), resulting in approximately 266,341 Target 0 members (95% of the balanced dataset). </a:t>
            </a:r>
          </a:p>
          <a:p>
            <a:pPr marL="0" indent="0">
              <a:buNone/>
            </a:pPr>
            <a:r>
              <a:rPr lang="en-US" sz="1800" kern="0" dirty="0">
                <a:effectLst/>
                <a:latin typeface="Aptos" panose="020B0004020202020204" pitchFamily="34" charset="0"/>
                <a:ea typeface="Aptos" panose="020B0004020202020204" pitchFamily="34" charset="0"/>
                <a:cs typeface="Aptos" panose="020B0004020202020204" pitchFamily="34" charset="0"/>
              </a:rPr>
              <a:t>• This gave us a balanced training set with 280,359 patients: 5% Target 1 and 95% Target 0. </a:t>
            </a:r>
          </a:p>
          <a:p>
            <a:pPr marL="0" indent="0">
              <a:buNone/>
            </a:pPr>
            <a:endParaRPr lang="en-US" sz="1800" kern="0" dirty="0">
              <a:effectLst/>
              <a:latin typeface="Aptos" panose="020B0004020202020204" pitchFamily="34" charset="0"/>
              <a:ea typeface="Aptos" panose="020B0004020202020204" pitchFamily="34" charset="0"/>
              <a:cs typeface="Aptos" panose="020B0004020202020204" pitchFamily="34" charset="0"/>
            </a:endParaRPr>
          </a:p>
          <a:p>
            <a:pPr marL="0" indent="0">
              <a:buNone/>
            </a:pPr>
            <a:r>
              <a:rPr lang="en-US" sz="1800" kern="0" dirty="0">
                <a:effectLst/>
                <a:latin typeface="Aptos" panose="020B0004020202020204" pitchFamily="34" charset="0"/>
                <a:ea typeface="Aptos" panose="020B0004020202020204" pitchFamily="34" charset="0"/>
                <a:cs typeface="Aptos" panose="020B0004020202020204" pitchFamily="34" charset="0"/>
              </a:rPr>
              <a:t>3. Splitting the Training Data: • The data was split into Train Data (75%): 210,269 records, and Validation Data (25%): 70,090 records, to train and validate the model. </a:t>
            </a:r>
          </a:p>
          <a:p>
            <a:pPr marL="0" indent="0">
              <a:buNone/>
            </a:pPr>
            <a:endParaRPr lang="en-US" sz="1800" kern="0" dirty="0">
              <a:effectLst/>
              <a:latin typeface="Aptos" panose="020B0004020202020204" pitchFamily="34" charset="0"/>
              <a:ea typeface="Aptos" panose="020B0004020202020204" pitchFamily="34" charset="0"/>
              <a:cs typeface="Aptos" panose="020B0004020202020204" pitchFamily="34" charset="0"/>
            </a:endParaRPr>
          </a:p>
          <a:p>
            <a:pPr marL="0" indent="0">
              <a:buNone/>
            </a:pPr>
            <a:r>
              <a:rPr lang="en-US" sz="1800" kern="0" dirty="0">
                <a:effectLst/>
                <a:latin typeface="Aptos" panose="020B0004020202020204" pitchFamily="34" charset="0"/>
                <a:ea typeface="Aptos" panose="020B0004020202020204" pitchFamily="34" charset="0"/>
                <a:cs typeface="Aptos" panose="020B0004020202020204" pitchFamily="34" charset="0"/>
              </a:rPr>
              <a:t>4. Out-of-Time (OOT) Validation Data:</a:t>
            </a:r>
          </a:p>
          <a:p>
            <a:pPr marL="0" indent="0">
              <a:buNone/>
            </a:pPr>
            <a:r>
              <a:rPr lang="en-US" sz="1800" kern="0" dirty="0">
                <a:effectLst/>
                <a:latin typeface="Aptos" panose="020B0004020202020204" pitchFamily="34" charset="0"/>
                <a:ea typeface="Aptos" panose="020B0004020202020204" pitchFamily="34" charset="0"/>
                <a:cs typeface="Aptos" panose="020B0004020202020204" pitchFamily="34" charset="0"/>
              </a:rPr>
              <a:t> • For further validation, we used an OOT table with 124,231 patients.</a:t>
            </a:r>
          </a:p>
          <a:p>
            <a:pPr marL="0" indent="0">
              <a:buNone/>
            </a:pPr>
            <a:r>
              <a:rPr lang="en-US" sz="1800" kern="0" dirty="0">
                <a:effectLst/>
                <a:latin typeface="Aptos" panose="020B0004020202020204" pitchFamily="34" charset="0"/>
                <a:ea typeface="Aptos" panose="020B0004020202020204" pitchFamily="34" charset="0"/>
                <a:cs typeface="Aptos" panose="020B0004020202020204" pitchFamily="34" charset="0"/>
              </a:rPr>
              <a:t> • Two additional splits were created based on the baby’s date of birth:</a:t>
            </a:r>
          </a:p>
          <a:p>
            <a:pPr marL="0" indent="0">
              <a:buNone/>
            </a:pPr>
            <a:r>
              <a:rPr lang="en-US" sz="1800" kern="0" dirty="0">
                <a:effectLst/>
                <a:latin typeface="Aptos" panose="020B0004020202020204" pitchFamily="34" charset="0"/>
                <a:ea typeface="Aptos" panose="020B0004020202020204" pitchFamily="34" charset="0"/>
                <a:cs typeface="Aptos" panose="020B0004020202020204" pitchFamily="34" charset="0"/>
              </a:rPr>
              <a:t> • Jan–Jun 2024 OOT Table: 81,661 patients </a:t>
            </a:r>
          </a:p>
          <a:p>
            <a:pPr marL="0" indent="0">
              <a:buNone/>
            </a:pPr>
            <a:r>
              <a:rPr lang="en-US" sz="1800" kern="0" dirty="0">
                <a:effectLst/>
                <a:latin typeface="Aptos" panose="020B0004020202020204" pitchFamily="34" charset="0"/>
                <a:ea typeface="Aptos" panose="020B0004020202020204" pitchFamily="34" charset="0"/>
                <a:cs typeface="Aptos" panose="020B0004020202020204" pitchFamily="34" charset="0"/>
              </a:rPr>
              <a:t>• Jul–Sep 2024 OOT Table: 42,570 patients. </a:t>
            </a:r>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pPr/>
              <a:t>3</a:t>
            </a:fld>
            <a:endParaRPr lang="en-US" dirty="0"/>
          </a:p>
        </p:txBody>
      </p:sp>
    </p:spTree>
    <p:extLst>
      <p:ext uri="{BB962C8B-B14F-4D97-AF65-F5344CB8AC3E}">
        <p14:creationId xmlns:p14="http://schemas.microsoft.com/office/powerpoint/2010/main" val="39221089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none" dirty="0"/>
              <a:t>Remark difference between V1 and V3 :  </a:t>
            </a:r>
          </a:p>
          <a:p>
            <a:r>
              <a:rPr lang="en-US" u="none" dirty="0"/>
              <a:t>Iteration 4 V1 created </a:t>
            </a:r>
            <a:r>
              <a:rPr lang="en-US" sz="1200" u="none" dirty="0">
                <a:effectLst/>
                <a:latin typeface="Aptos" panose="020B0004020202020204" pitchFamily="34" charset="0"/>
                <a:ea typeface="Aptos" panose="020B0004020202020204" pitchFamily="34" charset="0"/>
                <a:cs typeface="Aptos" panose="020B0004020202020204" pitchFamily="34" charset="0"/>
              </a:rPr>
              <a:t>with filters claim service &lt;= baby birth date</a:t>
            </a:r>
          </a:p>
          <a:p>
            <a:r>
              <a:rPr lang="en-US" sz="1200" u="none" dirty="0">
                <a:effectLst/>
                <a:latin typeface="Aptos" panose="020B0004020202020204" pitchFamily="34" charset="0"/>
              </a:rPr>
              <a:t>Iteration 4 V3 created with </a:t>
            </a:r>
            <a:r>
              <a:rPr lang="en-US" sz="1200" u="none" dirty="0">
                <a:effectLst/>
                <a:latin typeface="Aptos" panose="020B0004020202020204" pitchFamily="34" charset="0"/>
                <a:ea typeface="Aptos" panose="020B0004020202020204" pitchFamily="34" charset="0"/>
                <a:cs typeface="Aptos" panose="020B0004020202020204" pitchFamily="34" charset="0"/>
              </a:rPr>
              <a:t>filters claim service and paid date &lt; baby birth date </a:t>
            </a:r>
            <a:endParaRPr lang="en-US" u="none" dirty="0"/>
          </a:p>
          <a:p>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pPr/>
              <a:t>4</a:t>
            </a:fld>
            <a:endParaRPr lang="en-US" dirty="0"/>
          </a:p>
        </p:txBody>
      </p:sp>
    </p:spTree>
    <p:extLst>
      <p:ext uri="{BB962C8B-B14F-4D97-AF65-F5344CB8AC3E}">
        <p14:creationId xmlns:p14="http://schemas.microsoft.com/office/powerpoint/2010/main" val="33185029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pPr/>
              <a:t>5</a:t>
            </a:fld>
            <a:endParaRPr lang="en-US" dirty="0"/>
          </a:p>
        </p:txBody>
      </p:sp>
    </p:spTree>
    <p:extLst>
      <p:ext uri="{BB962C8B-B14F-4D97-AF65-F5344CB8AC3E}">
        <p14:creationId xmlns:p14="http://schemas.microsoft.com/office/powerpoint/2010/main" val="39047001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pPr/>
              <a:t>8</a:t>
            </a:fld>
            <a:endParaRPr lang="en-US" dirty="0"/>
          </a:p>
        </p:txBody>
      </p:sp>
    </p:spTree>
    <p:extLst>
      <p:ext uri="{BB962C8B-B14F-4D97-AF65-F5344CB8AC3E}">
        <p14:creationId xmlns:p14="http://schemas.microsoft.com/office/powerpoint/2010/main" val="3012119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t>10</a:t>
            </a:fld>
            <a:endParaRPr lang="en-US" dirty="0"/>
          </a:p>
        </p:txBody>
      </p:sp>
    </p:spTree>
    <p:extLst>
      <p:ext uri="{BB962C8B-B14F-4D97-AF65-F5344CB8AC3E}">
        <p14:creationId xmlns:p14="http://schemas.microsoft.com/office/powerpoint/2010/main" val="37615418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2.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2.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4.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15.svg"/><Relationship Id="rId5" Type="http://schemas.openxmlformats.org/officeDocument/2006/relationships/image" Target="../media/image10.png"/><Relationship Id="rId4" Type="http://schemas.openxmlformats.org/officeDocument/2006/relationships/image" Target="../media/image14.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16.svg"/><Relationship Id="rId5" Type="http://schemas.openxmlformats.org/officeDocument/2006/relationships/image" Target="../media/image10.png"/><Relationship Id="rId4" Type="http://schemas.openxmlformats.org/officeDocument/2006/relationships/image" Target="../media/image14.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16.svg"/><Relationship Id="rId5" Type="http://schemas.openxmlformats.org/officeDocument/2006/relationships/image" Target="../media/image10.png"/><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7.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1140380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15089" y="4517136"/>
            <a:ext cx="5638800" cy="228600"/>
          </a:xfrm>
          <a:prstGeom prst="rect">
            <a:avLst/>
          </a:prstGeom>
        </p:spPr>
        <p:txBody>
          <a:bodyPr/>
          <a:lstStyle>
            <a:lvl1pPr marL="0" indent="0" algn="l">
              <a:buNone/>
              <a:defRPr sz="18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ext Placeholder 11">
            <a:extLst>
              <a:ext uri="{FF2B5EF4-FFF2-40B4-BE49-F238E27FC236}">
                <a16:creationId xmlns:a16="http://schemas.microsoft.com/office/drawing/2014/main" id="{1FF0BD0F-29F1-5746-9751-EC930E120D34}"/>
              </a:ext>
            </a:extLst>
          </p:cNvPr>
          <p:cNvSpPr>
            <a:spLocks noGrp="1"/>
          </p:cNvSpPr>
          <p:nvPr>
            <p:ph type="body" sz="quarter" idx="11" hasCustomPrompt="1"/>
          </p:nvPr>
        </p:nvSpPr>
        <p:spPr>
          <a:xfrm>
            <a:off x="415089" y="4758997"/>
            <a:ext cx="5638800" cy="224536"/>
          </a:xfrm>
          <a:prstGeom prst="rect">
            <a:avLst/>
          </a:prstGeom>
        </p:spPr>
        <p:txBody>
          <a:bodyPr vert="horz" lIns="0" tIns="0" rIns="0" bIns="0" rtlCol="0">
            <a:noAutofit/>
          </a:bodyPr>
          <a:lstStyle>
            <a:lvl1pPr>
              <a:defRPr lang="en-US" sz="1800" i="0" dirty="0">
                <a:latin typeface="+mn-lt"/>
              </a:defRPr>
            </a:lvl1pPr>
          </a:lstStyle>
          <a:p>
            <a:pPr lvl="0"/>
            <a:r>
              <a:rPr lang="en-US" dirty="0"/>
              <a:t>Click to add date</a:t>
            </a:r>
          </a:p>
        </p:txBody>
      </p:sp>
      <p:sp>
        <p:nvSpPr>
          <p:cNvPr id="10" name="Title 1">
            <a:extLst>
              <a:ext uri="{FF2B5EF4-FFF2-40B4-BE49-F238E27FC236}">
                <a16:creationId xmlns:a16="http://schemas.microsoft.com/office/drawing/2014/main" id="{42A56EB4-D385-CA47-98BE-9B9C64B5BD70}"/>
              </a:ext>
            </a:extLst>
          </p:cNvPr>
          <p:cNvSpPr>
            <a:spLocks noGrp="1"/>
          </p:cNvSpPr>
          <p:nvPr>
            <p:ph type="ctrTitle" hasCustomPrompt="1"/>
          </p:nvPr>
        </p:nvSpPr>
        <p:spPr>
          <a:xfrm>
            <a:off x="415089" y="2587226"/>
            <a:ext cx="8349500" cy="1567689"/>
          </a:xfrm>
        </p:spPr>
        <p:txBody>
          <a:bodyPr vert="horz" anchor="b" anchorCtr="0"/>
          <a:lstStyle>
            <a:lvl1pPr algn="l">
              <a:defRPr sz="5200">
                <a:solidFill>
                  <a:schemeClr val="tx1"/>
                </a:solidFill>
              </a:defRPr>
            </a:lvl1pPr>
          </a:lstStyle>
          <a:p>
            <a:r>
              <a:rPr lang="en-US" dirty="0"/>
              <a:t>Click to add</a:t>
            </a:r>
            <a:br>
              <a:rPr lang="en-US" dirty="0"/>
            </a:br>
            <a:r>
              <a:rPr lang="en-US" dirty="0"/>
              <a:t>presentation title</a:t>
            </a:r>
          </a:p>
        </p:txBody>
      </p:sp>
      <p:pic>
        <p:nvPicPr>
          <p:cNvPr id="15" name="Graphic 14">
            <a:extLst>
              <a:ext uri="{FF2B5EF4-FFF2-40B4-BE49-F238E27FC236}">
                <a16:creationId xmlns:a16="http://schemas.microsoft.com/office/drawing/2014/main" id="{CEEC8927-BEE8-3FC1-A519-8A7893FF155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3341" y="578424"/>
            <a:ext cx="1785575" cy="384339"/>
          </a:xfrm>
          <a:prstGeom prst="rect">
            <a:avLst/>
          </a:prstGeom>
        </p:spPr>
      </p:pic>
    </p:spTree>
    <p:extLst>
      <p:ext uri="{BB962C8B-B14F-4D97-AF65-F5344CB8AC3E}">
        <p14:creationId xmlns:p14="http://schemas.microsoft.com/office/powerpoint/2010/main" val="34213785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urple">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905094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24FC1E18-3994-4821-BBED-2E435EACD903}"/>
              </a:ext>
            </a:extLst>
          </p:cNvPr>
          <p:cNvSpPr>
            <a:spLocks noGrp="1"/>
          </p:cNvSpPr>
          <p:nvPr>
            <p:ph idx="1" hasCustomPrompt="1"/>
          </p:nvPr>
        </p:nvSpPr>
        <p:spPr>
          <a:xfrm>
            <a:off x="457199" y="1694048"/>
            <a:ext cx="11274552" cy="4313052"/>
          </a:xfrm>
        </p:spPr>
        <p:txBody>
          <a:bodyPr vert="horz" lIns="0" tIns="0" rIns="0" bIns="0" rtlCol="0">
            <a:noAutofit/>
          </a:bodyPr>
          <a:lstStyle>
            <a:lvl1pPr>
              <a:buClr>
                <a:schemeClr val="bg1"/>
              </a:buClr>
              <a:defRPr lang="en-US" dirty="0">
                <a:solidFill>
                  <a:schemeClr val="bg1"/>
                </a:solidFill>
              </a:defRPr>
            </a:lvl1pPr>
            <a:lvl2pPr>
              <a:buClr>
                <a:schemeClr val="bg1"/>
              </a:buClr>
              <a:defRPr lang="en-US" dirty="0">
                <a:solidFill>
                  <a:schemeClr val="bg1"/>
                </a:solidFill>
              </a:defRPr>
            </a:lvl2pPr>
            <a:lvl3pPr>
              <a:buClr>
                <a:schemeClr val="bg1"/>
              </a:buClr>
              <a:defRPr lang="en-US" dirty="0">
                <a:solidFill>
                  <a:schemeClr val="bg1"/>
                </a:solidFill>
              </a:defRPr>
            </a:lvl3pPr>
            <a:lvl4pPr>
              <a:buClr>
                <a:schemeClr val="bg1"/>
              </a:buClr>
              <a:defRPr lang="en-US" dirty="0">
                <a:solidFill>
                  <a:schemeClr val="bg1"/>
                </a:solidFill>
              </a:defRPr>
            </a:lvl4pPr>
            <a:lvl5pPr>
              <a:buClr>
                <a:schemeClr val="bg1"/>
              </a:buClr>
              <a:defRPr lang="en-US" dirty="0">
                <a:solidFill>
                  <a:schemeClr val="bg1"/>
                </a:solidFill>
              </a:defRPr>
            </a:lvl5pPr>
            <a:lvl6pPr>
              <a:buClr>
                <a:schemeClr val="bg1"/>
              </a:buClr>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1" name="TextBox 10">
            <a:extLst>
              <a:ext uri="{FF2B5EF4-FFF2-40B4-BE49-F238E27FC236}">
                <a16:creationId xmlns:a16="http://schemas.microsoft.com/office/drawing/2014/main" id="{AFD28C7D-8653-A64D-9D01-E67E0D43199F}"/>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41129BB6-0921-694D-A4A8-DD9B3AD0260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4" name="Text Placeholder 3">
            <a:extLst>
              <a:ext uri="{FF2B5EF4-FFF2-40B4-BE49-F238E27FC236}">
                <a16:creationId xmlns:a16="http://schemas.microsoft.com/office/drawing/2014/main" id="{58FAD17C-722E-2194-C51B-1C834EBB712D}"/>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4383178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73454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p:txBody>
          <a:bodyPr/>
          <a:lstStyle/>
          <a:p>
            <a:r>
              <a:rPr lang="en-US" dirty="0"/>
              <a:t>Click to edit master title style</a:t>
            </a:r>
          </a:p>
        </p:txBody>
      </p:sp>
      <p:sp>
        <p:nvSpPr>
          <p:cNvPr id="6" name="Content Placeholder 5">
            <a:extLst>
              <a:ext uri="{FF2B5EF4-FFF2-40B4-BE49-F238E27FC236}">
                <a16:creationId xmlns:a16="http://schemas.microsoft.com/office/drawing/2014/main" id="{6FE5EBD5-3136-174B-831A-04B8DF69E5D6}"/>
              </a:ext>
            </a:extLst>
          </p:cNvPr>
          <p:cNvSpPr>
            <a:spLocks noGrp="1"/>
          </p:cNvSpPr>
          <p:nvPr>
            <p:ph sz="quarter" idx="11" hasCustomPrompt="1"/>
          </p:nvPr>
        </p:nvSpPr>
        <p:spPr>
          <a:xfrm>
            <a:off x="457199" y="1691640"/>
            <a:ext cx="5529263"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9" name="Content Placeholder 5">
            <a:extLst>
              <a:ext uri="{FF2B5EF4-FFF2-40B4-BE49-F238E27FC236}">
                <a16:creationId xmlns:a16="http://schemas.microsoft.com/office/drawing/2014/main" id="{A1E52CE3-22DF-5A41-9EAD-D5575B3917AE}"/>
              </a:ext>
            </a:extLst>
          </p:cNvPr>
          <p:cNvSpPr>
            <a:spLocks noGrp="1"/>
          </p:cNvSpPr>
          <p:nvPr>
            <p:ph sz="quarter" idx="12" hasCustomPrompt="1"/>
          </p:nvPr>
        </p:nvSpPr>
        <p:spPr>
          <a:xfrm>
            <a:off x="6215063" y="1691640"/>
            <a:ext cx="5529263"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 name="Text Placeholder 3">
            <a:extLst>
              <a:ext uri="{FF2B5EF4-FFF2-40B4-BE49-F238E27FC236}">
                <a16:creationId xmlns:a16="http://schemas.microsoft.com/office/drawing/2014/main" id="{1B19BAFD-D309-457C-FA11-8DA8B91BD7CE}"/>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047515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8206909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a:xfrm>
            <a:off x="457200" y="384048"/>
            <a:ext cx="11274552" cy="822960"/>
          </a:xfrm>
        </p:spPr>
        <p:txBody>
          <a:bodyPr/>
          <a:lstStyle/>
          <a:p>
            <a:r>
              <a:rPr lang="en-US" dirty="0"/>
              <a:t>Click to edit master title style</a:t>
            </a:r>
          </a:p>
        </p:txBody>
      </p:sp>
      <p:sp>
        <p:nvSpPr>
          <p:cNvPr id="9" name="Content Placeholder 5">
            <a:extLst>
              <a:ext uri="{FF2B5EF4-FFF2-40B4-BE49-F238E27FC236}">
                <a16:creationId xmlns:a16="http://schemas.microsoft.com/office/drawing/2014/main" id="{45AB35AA-8D35-7641-A957-D4B0335C4E6D}"/>
              </a:ext>
            </a:extLst>
          </p:cNvPr>
          <p:cNvSpPr>
            <a:spLocks noGrp="1"/>
          </p:cNvSpPr>
          <p:nvPr>
            <p:ph sz="quarter" idx="11" hasCustomPrompt="1"/>
          </p:nvPr>
        </p:nvSpPr>
        <p:spPr>
          <a:xfrm>
            <a:off x="457200" y="1691640"/>
            <a:ext cx="360997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2" name="Content Placeholder 5">
            <a:extLst>
              <a:ext uri="{FF2B5EF4-FFF2-40B4-BE49-F238E27FC236}">
                <a16:creationId xmlns:a16="http://schemas.microsoft.com/office/drawing/2014/main" id="{EBAB0896-32F4-184C-AB6B-8BD1DC29EDF6}"/>
              </a:ext>
            </a:extLst>
          </p:cNvPr>
          <p:cNvSpPr>
            <a:spLocks noGrp="1"/>
          </p:cNvSpPr>
          <p:nvPr>
            <p:ph sz="quarter" idx="13" hasCustomPrompt="1"/>
          </p:nvPr>
        </p:nvSpPr>
        <p:spPr>
          <a:xfrm>
            <a:off x="4295273" y="1691640"/>
            <a:ext cx="360997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3" name="Content Placeholder 5">
            <a:extLst>
              <a:ext uri="{FF2B5EF4-FFF2-40B4-BE49-F238E27FC236}">
                <a16:creationId xmlns:a16="http://schemas.microsoft.com/office/drawing/2014/main" id="{737AFD7F-3700-A74E-A770-258AE729175D}"/>
              </a:ext>
            </a:extLst>
          </p:cNvPr>
          <p:cNvSpPr>
            <a:spLocks noGrp="1"/>
          </p:cNvSpPr>
          <p:nvPr>
            <p:ph sz="quarter" idx="14" hasCustomPrompt="1"/>
          </p:nvPr>
        </p:nvSpPr>
        <p:spPr>
          <a:xfrm>
            <a:off x="8133346" y="1691640"/>
            <a:ext cx="359840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 name="Text Placeholder 3">
            <a:extLst>
              <a:ext uri="{FF2B5EF4-FFF2-40B4-BE49-F238E27FC236}">
                <a16:creationId xmlns:a16="http://schemas.microsoft.com/office/drawing/2014/main" id="{1F049AB0-2699-E4A5-AE74-ECA75F9891B4}"/>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1073045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301731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a:xfrm>
            <a:off x="457200" y="384048"/>
            <a:ext cx="11274552" cy="822960"/>
          </a:xfrm>
        </p:spPr>
        <p:txBody>
          <a:bodyPr/>
          <a:lstStyle/>
          <a:p>
            <a:r>
              <a:rPr lang="en-US" dirty="0"/>
              <a:t>Click to edit master title style</a:t>
            </a:r>
          </a:p>
        </p:txBody>
      </p:sp>
      <p:sp>
        <p:nvSpPr>
          <p:cNvPr id="4" name="Content Placeholder 3">
            <a:extLst>
              <a:ext uri="{FF2B5EF4-FFF2-40B4-BE49-F238E27FC236}">
                <a16:creationId xmlns:a16="http://schemas.microsoft.com/office/drawing/2014/main" id="{AD385E59-9CC5-9871-4EB1-B364647AAFA5}"/>
              </a:ext>
            </a:extLst>
          </p:cNvPr>
          <p:cNvSpPr>
            <a:spLocks noGrp="1"/>
          </p:cNvSpPr>
          <p:nvPr>
            <p:ph sz="quarter" idx="21"/>
          </p:nvPr>
        </p:nvSpPr>
        <p:spPr>
          <a:xfrm>
            <a:off x="475443"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lnSpc>
                <a:spcPct val="100000"/>
              </a:lnSpc>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3">
            <a:extLst>
              <a:ext uri="{FF2B5EF4-FFF2-40B4-BE49-F238E27FC236}">
                <a16:creationId xmlns:a16="http://schemas.microsoft.com/office/drawing/2014/main" id="{89E427DA-4D2F-C091-BBC3-51007DCBA33D}"/>
              </a:ext>
            </a:extLst>
          </p:cNvPr>
          <p:cNvSpPr>
            <a:spLocks noGrp="1"/>
          </p:cNvSpPr>
          <p:nvPr>
            <p:ph sz="quarter" idx="22"/>
          </p:nvPr>
        </p:nvSpPr>
        <p:spPr>
          <a:xfrm>
            <a:off x="3348289"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3">
            <a:extLst>
              <a:ext uri="{FF2B5EF4-FFF2-40B4-BE49-F238E27FC236}">
                <a16:creationId xmlns:a16="http://schemas.microsoft.com/office/drawing/2014/main" id="{A93994B7-A0C7-265E-120E-98F5D0653416}"/>
              </a:ext>
            </a:extLst>
          </p:cNvPr>
          <p:cNvSpPr>
            <a:spLocks noGrp="1"/>
          </p:cNvSpPr>
          <p:nvPr>
            <p:ph sz="quarter" idx="23"/>
          </p:nvPr>
        </p:nvSpPr>
        <p:spPr>
          <a:xfrm>
            <a:off x="6221135"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a:extLst>
              <a:ext uri="{FF2B5EF4-FFF2-40B4-BE49-F238E27FC236}">
                <a16:creationId xmlns:a16="http://schemas.microsoft.com/office/drawing/2014/main" id="{FD44DF59-6C6E-B941-C523-A61E7A097C9C}"/>
              </a:ext>
            </a:extLst>
          </p:cNvPr>
          <p:cNvSpPr>
            <a:spLocks noGrp="1"/>
          </p:cNvSpPr>
          <p:nvPr>
            <p:ph sz="quarter" idx="24"/>
          </p:nvPr>
        </p:nvSpPr>
        <p:spPr>
          <a:xfrm>
            <a:off x="9093980"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Placeholder 3">
            <a:extLst>
              <a:ext uri="{FF2B5EF4-FFF2-40B4-BE49-F238E27FC236}">
                <a16:creationId xmlns:a16="http://schemas.microsoft.com/office/drawing/2014/main" id="{3AD5E377-423A-C7AA-84A4-10D32795F03C}"/>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1016313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sp>
        <p:nvSpPr>
          <p:cNvPr id="2" name="Text Placeholder 3">
            <a:extLst>
              <a:ext uri="{FF2B5EF4-FFF2-40B4-BE49-F238E27FC236}">
                <a16:creationId xmlns:a16="http://schemas.microsoft.com/office/drawing/2014/main" id="{8248009B-972F-3AE9-7E12-F09363AE867E}"/>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4355597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am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0F62E-226D-824B-B8DB-2C89D7A653EA}"/>
              </a:ext>
            </a:extLst>
          </p:cNvPr>
          <p:cNvSpPr>
            <a:spLocks noGrp="1"/>
          </p:cNvSpPr>
          <p:nvPr>
            <p:ph type="title" hasCustomPrompt="1"/>
          </p:nvPr>
        </p:nvSpPr>
        <p:spPr/>
        <p:txBody>
          <a:bodyPr/>
          <a:lstStyle/>
          <a:p>
            <a:r>
              <a:rPr lang="en-US" dirty="0"/>
              <a:t>Click to edit master title style</a:t>
            </a:r>
          </a:p>
        </p:txBody>
      </p:sp>
      <p:sp>
        <p:nvSpPr>
          <p:cNvPr id="5" name="Text Placeholder 4">
            <a:extLst>
              <a:ext uri="{FF2B5EF4-FFF2-40B4-BE49-F238E27FC236}">
                <a16:creationId xmlns:a16="http://schemas.microsoft.com/office/drawing/2014/main" id="{8FE593D0-EE65-A94C-979B-4EB5160A52D5}"/>
              </a:ext>
            </a:extLst>
          </p:cNvPr>
          <p:cNvSpPr>
            <a:spLocks noGrp="1"/>
          </p:cNvSpPr>
          <p:nvPr>
            <p:ph type="body" sz="quarter" idx="12" hasCustomPrompt="1"/>
          </p:nvPr>
        </p:nvSpPr>
        <p:spPr>
          <a:xfrm>
            <a:off x="463550"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6" name="Text Placeholder 4">
            <a:extLst>
              <a:ext uri="{FF2B5EF4-FFF2-40B4-BE49-F238E27FC236}">
                <a16:creationId xmlns:a16="http://schemas.microsoft.com/office/drawing/2014/main" id="{A4F42A18-507B-2A47-B6EA-97335445F084}"/>
              </a:ext>
            </a:extLst>
          </p:cNvPr>
          <p:cNvSpPr>
            <a:spLocks noGrp="1"/>
          </p:cNvSpPr>
          <p:nvPr>
            <p:ph type="body" sz="quarter" idx="13" hasCustomPrompt="1"/>
          </p:nvPr>
        </p:nvSpPr>
        <p:spPr>
          <a:xfrm>
            <a:off x="463550"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8" name="Picture Placeholder 7">
            <a:extLst>
              <a:ext uri="{FF2B5EF4-FFF2-40B4-BE49-F238E27FC236}">
                <a16:creationId xmlns:a16="http://schemas.microsoft.com/office/drawing/2014/main" id="{7136F8D8-9E9A-7C43-880A-D35701E32683}"/>
              </a:ext>
            </a:extLst>
          </p:cNvPr>
          <p:cNvSpPr>
            <a:spLocks noGrp="1"/>
          </p:cNvSpPr>
          <p:nvPr>
            <p:ph type="pic" sz="quarter" idx="14"/>
          </p:nvPr>
        </p:nvSpPr>
        <p:spPr>
          <a:xfrm>
            <a:off x="846137"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9" name="Text Placeholder 4">
            <a:extLst>
              <a:ext uri="{FF2B5EF4-FFF2-40B4-BE49-F238E27FC236}">
                <a16:creationId xmlns:a16="http://schemas.microsoft.com/office/drawing/2014/main" id="{9ADE556B-B119-6F48-A31A-9BF6AEDC91BB}"/>
              </a:ext>
            </a:extLst>
          </p:cNvPr>
          <p:cNvSpPr>
            <a:spLocks noGrp="1"/>
          </p:cNvSpPr>
          <p:nvPr>
            <p:ph type="body" sz="quarter" idx="15" hasCustomPrompt="1"/>
          </p:nvPr>
        </p:nvSpPr>
        <p:spPr>
          <a:xfrm>
            <a:off x="2379118"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10" name="Text Placeholder 4">
            <a:extLst>
              <a:ext uri="{FF2B5EF4-FFF2-40B4-BE49-F238E27FC236}">
                <a16:creationId xmlns:a16="http://schemas.microsoft.com/office/drawing/2014/main" id="{DBE864A2-9804-E543-A5CE-8D60A0A295DC}"/>
              </a:ext>
            </a:extLst>
          </p:cNvPr>
          <p:cNvSpPr>
            <a:spLocks noGrp="1"/>
          </p:cNvSpPr>
          <p:nvPr>
            <p:ph type="body" sz="quarter" idx="16" hasCustomPrompt="1"/>
          </p:nvPr>
        </p:nvSpPr>
        <p:spPr>
          <a:xfrm>
            <a:off x="2379118"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11" name="Picture Placeholder 7">
            <a:extLst>
              <a:ext uri="{FF2B5EF4-FFF2-40B4-BE49-F238E27FC236}">
                <a16:creationId xmlns:a16="http://schemas.microsoft.com/office/drawing/2014/main" id="{B419F68C-84F4-CA45-BF35-6C80E7E9133B}"/>
              </a:ext>
            </a:extLst>
          </p:cNvPr>
          <p:cNvSpPr>
            <a:spLocks noGrp="1"/>
          </p:cNvSpPr>
          <p:nvPr>
            <p:ph type="pic" sz="quarter" idx="17"/>
          </p:nvPr>
        </p:nvSpPr>
        <p:spPr>
          <a:xfrm>
            <a:off x="2761705"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12" name="Text Placeholder 4">
            <a:extLst>
              <a:ext uri="{FF2B5EF4-FFF2-40B4-BE49-F238E27FC236}">
                <a16:creationId xmlns:a16="http://schemas.microsoft.com/office/drawing/2014/main" id="{01CB1C99-74B5-174F-98C0-171233B66025}"/>
              </a:ext>
            </a:extLst>
          </p:cNvPr>
          <p:cNvSpPr>
            <a:spLocks noGrp="1"/>
          </p:cNvSpPr>
          <p:nvPr>
            <p:ph type="body" sz="quarter" idx="18" hasCustomPrompt="1"/>
          </p:nvPr>
        </p:nvSpPr>
        <p:spPr>
          <a:xfrm>
            <a:off x="4308035"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13" name="Text Placeholder 4">
            <a:extLst>
              <a:ext uri="{FF2B5EF4-FFF2-40B4-BE49-F238E27FC236}">
                <a16:creationId xmlns:a16="http://schemas.microsoft.com/office/drawing/2014/main" id="{824E4549-6E6F-7745-AB1B-8EDC747F883F}"/>
              </a:ext>
            </a:extLst>
          </p:cNvPr>
          <p:cNvSpPr>
            <a:spLocks noGrp="1"/>
          </p:cNvSpPr>
          <p:nvPr>
            <p:ph type="body" sz="quarter" idx="19" hasCustomPrompt="1"/>
          </p:nvPr>
        </p:nvSpPr>
        <p:spPr>
          <a:xfrm>
            <a:off x="4308035"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14" name="Picture Placeholder 7">
            <a:extLst>
              <a:ext uri="{FF2B5EF4-FFF2-40B4-BE49-F238E27FC236}">
                <a16:creationId xmlns:a16="http://schemas.microsoft.com/office/drawing/2014/main" id="{29D27A29-F9E8-6346-A5EF-5DA6EA07F1CC}"/>
              </a:ext>
            </a:extLst>
          </p:cNvPr>
          <p:cNvSpPr>
            <a:spLocks noGrp="1"/>
          </p:cNvSpPr>
          <p:nvPr>
            <p:ph type="pic" sz="quarter" idx="20"/>
          </p:nvPr>
        </p:nvSpPr>
        <p:spPr>
          <a:xfrm>
            <a:off x="4690622"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15" name="Text Placeholder 4">
            <a:extLst>
              <a:ext uri="{FF2B5EF4-FFF2-40B4-BE49-F238E27FC236}">
                <a16:creationId xmlns:a16="http://schemas.microsoft.com/office/drawing/2014/main" id="{CEBB509A-6317-3047-B130-69533D44DA2C}"/>
              </a:ext>
            </a:extLst>
          </p:cNvPr>
          <p:cNvSpPr>
            <a:spLocks noGrp="1"/>
          </p:cNvSpPr>
          <p:nvPr>
            <p:ph type="body" sz="quarter" idx="21" hasCustomPrompt="1"/>
          </p:nvPr>
        </p:nvSpPr>
        <p:spPr>
          <a:xfrm>
            <a:off x="6216928"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16" name="Text Placeholder 4">
            <a:extLst>
              <a:ext uri="{FF2B5EF4-FFF2-40B4-BE49-F238E27FC236}">
                <a16:creationId xmlns:a16="http://schemas.microsoft.com/office/drawing/2014/main" id="{87C8E29D-1DF4-E64B-B1A0-057FB56DD8F8}"/>
              </a:ext>
            </a:extLst>
          </p:cNvPr>
          <p:cNvSpPr>
            <a:spLocks noGrp="1"/>
          </p:cNvSpPr>
          <p:nvPr>
            <p:ph type="body" sz="quarter" idx="22" hasCustomPrompt="1"/>
          </p:nvPr>
        </p:nvSpPr>
        <p:spPr>
          <a:xfrm>
            <a:off x="6216928"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17" name="Picture Placeholder 7">
            <a:extLst>
              <a:ext uri="{FF2B5EF4-FFF2-40B4-BE49-F238E27FC236}">
                <a16:creationId xmlns:a16="http://schemas.microsoft.com/office/drawing/2014/main" id="{0BD9928C-5B7E-4748-9D80-5DE690EE3BC9}"/>
              </a:ext>
            </a:extLst>
          </p:cNvPr>
          <p:cNvSpPr>
            <a:spLocks noGrp="1"/>
          </p:cNvSpPr>
          <p:nvPr>
            <p:ph type="pic" sz="quarter" idx="23"/>
          </p:nvPr>
        </p:nvSpPr>
        <p:spPr>
          <a:xfrm>
            <a:off x="6599515"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18" name="Text Placeholder 4">
            <a:extLst>
              <a:ext uri="{FF2B5EF4-FFF2-40B4-BE49-F238E27FC236}">
                <a16:creationId xmlns:a16="http://schemas.microsoft.com/office/drawing/2014/main" id="{FE3CBF30-81DD-0A43-8A15-60197C866CAF}"/>
              </a:ext>
            </a:extLst>
          </p:cNvPr>
          <p:cNvSpPr>
            <a:spLocks noGrp="1"/>
          </p:cNvSpPr>
          <p:nvPr>
            <p:ph type="body" sz="quarter" idx="24" hasCustomPrompt="1"/>
          </p:nvPr>
        </p:nvSpPr>
        <p:spPr>
          <a:xfrm>
            <a:off x="8139170"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19" name="Text Placeholder 4">
            <a:extLst>
              <a:ext uri="{FF2B5EF4-FFF2-40B4-BE49-F238E27FC236}">
                <a16:creationId xmlns:a16="http://schemas.microsoft.com/office/drawing/2014/main" id="{199B807F-816B-6C48-B219-89F944F4EBAC}"/>
              </a:ext>
            </a:extLst>
          </p:cNvPr>
          <p:cNvSpPr>
            <a:spLocks noGrp="1"/>
          </p:cNvSpPr>
          <p:nvPr>
            <p:ph type="body" sz="quarter" idx="25" hasCustomPrompt="1"/>
          </p:nvPr>
        </p:nvSpPr>
        <p:spPr>
          <a:xfrm>
            <a:off x="8139170"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20" name="Picture Placeholder 7">
            <a:extLst>
              <a:ext uri="{FF2B5EF4-FFF2-40B4-BE49-F238E27FC236}">
                <a16:creationId xmlns:a16="http://schemas.microsoft.com/office/drawing/2014/main" id="{8A8BF656-1C8C-6649-A301-D3C1DB5EA165}"/>
              </a:ext>
            </a:extLst>
          </p:cNvPr>
          <p:cNvSpPr>
            <a:spLocks noGrp="1"/>
          </p:cNvSpPr>
          <p:nvPr>
            <p:ph type="pic" sz="quarter" idx="26"/>
          </p:nvPr>
        </p:nvSpPr>
        <p:spPr>
          <a:xfrm>
            <a:off x="8521757"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21" name="Text Placeholder 4">
            <a:extLst>
              <a:ext uri="{FF2B5EF4-FFF2-40B4-BE49-F238E27FC236}">
                <a16:creationId xmlns:a16="http://schemas.microsoft.com/office/drawing/2014/main" id="{8E97B3CF-F3AF-0847-973F-35EB62E0DB15}"/>
              </a:ext>
            </a:extLst>
          </p:cNvPr>
          <p:cNvSpPr>
            <a:spLocks noGrp="1"/>
          </p:cNvSpPr>
          <p:nvPr>
            <p:ph type="body" sz="quarter" idx="27" hasCustomPrompt="1"/>
          </p:nvPr>
        </p:nvSpPr>
        <p:spPr>
          <a:xfrm>
            <a:off x="10054738"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22" name="Text Placeholder 4">
            <a:extLst>
              <a:ext uri="{FF2B5EF4-FFF2-40B4-BE49-F238E27FC236}">
                <a16:creationId xmlns:a16="http://schemas.microsoft.com/office/drawing/2014/main" id="{4000D23D-524D-D842-BDC0-1528A56D18D3}"/>
              </a:ext>
            </a:extLst>
          </p:cNvPr>
          <p:cNvSpPr>
            <a:spLocks noGrp="1"/>
          </p:cNvSpPr>
          <p:nvPr>
            <p:ph type="body" sz="quarter" idx="28" hasCustomPrompt="1"/>
          </p:nvPr>
        </p:nvSpPr>
        <p:spPr>
          <a:xfrm>
            <a:off x="10054738"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23" name="Picture Placeholder 7">
            <a:extLst>
              <a:ext uri="{FF2B5EF4-FFF2-40B4-BE49-F238E27FC236}">
                <a16:creationId xmlns:a16="http://schemas.microsoft.com/office/drawing/2014/main" id="{8ACF24C7-C577-1740-83D4-188B3F6A4CCB}"/>
              </a:ext>
            </a:extLst>
          </p:cNvPr>
          <p:cNvSpPr>
            <a:spLocks noGrp="1"/>
          </p:cNvSpPr>
          <p:nvPr>
            <p:ph type="pic" sz="quarter" idx="29"/>
          </p:nvPr>
        </p:nvSpPr>
        <p:spPr>
          <a:xfrm>
            <a:off x="10437325"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24" name="Text Placeholder 4">
            <a:extLst>
              <a:ext uri="{FF2B5EF4-FFF2-40B4-BE49-F238E27FC236}">
                <a16:creationId xmlns:a16="http://schemas.microsoft.com/office/drawing/2014/main" id="{E97CDEC1-E73D-F846-83AB-C6232AFCC7A0}"/>
              </a:ext>
            </a:extLst>
          </p:cNvPr>
          <p:cNvSpPr>
            <a:spLocks noGrp="1"/>
          </p:cNvSpPr>
          <p:nvPr>
            <p:ph type="body" sz="quarter" idx="30" hasCustomPrompt="1"/>
          </p:nvPr>
        </p:nvSpPr>
        <p:spPr>
          <a:xfrm>
            <a:off x="463550"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25" name="Text Placeholder 4">
            <a:extLst>
              <a:ext uri="{FF2B5EF4-FFF2-40B4-BE49-F238E27FC236}">
                <a16:creationId xmlns:a16="http://schemas.microsoft.com/office/drawing/2014/main" id="{3A0FC742-28EF-1F4F-98A3-67EDF60D9541}"/>
              </a:ext>
            </a:extLst>
          </p:cNvPr>
          <p:cNvSpPr>
            <a:spLocks noGrp="1"/>
          </p:cNvSpPr>
          <p:nvPr>
            <p:ph type="body" sz="quarter" idx="31" hasCustomPrompt="1"/>
          </p:nvPr>
        </p:nvSpPr>
        <p:spPr>
          <a:xfrm>
            <a:off x="463550"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26" name="Picture Placeholder 7">
            <a:extLst>
              <a:ext uri="{FF2B5EF4-FFF2-40B4-BE49-F238E27FC236}">
                <a16:creationId xmlns:a16="http://schemas.microsoft.com/office/drawing/2014/main" id="{AC2C9A8D-A59D-3545-BBA0-D20E682673F9}"/>
              </a:ext>
            </a:extLst>
          </p:cNvPr>
          <p:cNvSpPr>
            <a:spLocks noGrp="1"/>
          </p:cNvSpPr>
          <p:nvPr>
            <p:ph type="pic" sz="quarter" idx="32"/>
          </p:nvPr>
        </p:nvSpPr>
        <p:spPr>
          <a:xfrm>
            <a:off x="846137"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27" name="Text Placeholder 4">
            <a:extLst>
              <a:ext uri="{FF2B5EF4-FFF2-40B4-BE49-F238E27FC236}">
                <a16:creationId xmlns:a16="http://schemas.microsoft.com/office/drawing/2014/main" id="{0A06A56F-E43A-8E47-894E-4A4CED51900B}"/>
              </a:ext>
            </a:extLst>
          </p:cNvPr>
          <p:cNvSpPr>
            <a:spLocks noGrp="1"/>
          </p:cNvSpPr>
          <p:nvPr>
            <p:ph type="body" sz="quarter" idx="33" hasCustomPrompt="1"/>
          </p:nvPr>
        </p:nvSpPr>
        <p:spPr>
          <a:xfrm>
            <a:off x="2379118"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28" name="Text Placeholder 4">
            <a:extLst>
              <a:ext uri="{FF2B5EF4-FFF2-40B4-BE49-F238E27FC236}">
                <a16:creationId xmlns:a16="http://schemas.microsoft.com/office/drawing/2014/main" id="{3273EA5D-FA5D-204D-B343-A30D7C321D28}"/>
              </a:ext>
            </a:extLst>
          </p:cNvPr>
          <p:cNvSpPr>
            <a:spLocks noGrp="1"/>
          </p:cNvSpPr>
          <p:nvPr>
            <p:ph type="body" sz="quarter" idx="34" hasCustomPrompt="1"/>
          </p:nvPr>
        </p:nvSpPr>
        <p:spPr>
          <a:xfrm>
            <a:off x="2379118"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29" name="Picture Placeholder 7">
            <a:extLst>
              <a:ext uri="{FF2B5EF4-FFF2-40B4-BE49-F238E27FC236}">
                <a16:creationId xmlns:a16="http://schemas.microsoft.com/office/drawing/2014/main" id="{820AB5A6-040E-7444-A303-397B423E04B0}"/>
              </a:ext>
            </a:extLst>
          </p:cNvPr>
          <p:cNvSpPr>
            <a:spLocks noGrp="1"/>
          </p:cNvSpPr>
          <p:nvPr>
            <p:ph type="pic" sz="quarter" idx="35"/>
          </p:nvPr>
        </p:nvSpPr>
        <p:spPr>
          <a:xfrm>
            <a:off x="2761705"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30" name="Text Placeholder 4">
            <a:extLst>
              <a:ext uri="{FF2B5EF4-FFF2-40B4-BE49-F238E27FC236}">
                <a16:creationId xmlns:a16="http://schemas.microsoft.com/office/drawing/2014/main" id="{511F3BD3-8995-1046-8A62-EA88A88290BA}"/>
              </a:ext>
            </a:extLst>
          </p:cNvPr>
          <p:cNvSpPr>
            <a:spLocks noGrp="1"/>
          </p:cNvSpPr>
          <p:nvPr>
            <p:ph type="body" sz="quarter" idx="36" hasCustomPrompt="1"/>
          </p:nvPr>
        </p:nvSpPr>
        <p:spPr>
          <a:xfrm>
            <a:off x="4308035"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31" name="Text Placeholder 4">
            <a:extLst>
              <a:ext uri="{FF2B5EF4-FFF2-40B4-BE49-F238E27FC236}">
                <a16:creationId xmlns:a16="http://schemas.microsoft.com/office/drawing/2014/main" id="{D9600E0F-D874-F846-849D-FD682311EC4A}"/>
              </a:ext>
            </a:extLst>
          </p:cNvPr>
          <p:cNvSpPr>
            <a:spLocks noGrp="1"/>
          </p:cNvSpPr>
          <p:nvPr>
            <p:ph type="body" sz="quarter" idx="37" hasCustomPrompt="1"/>
          </p:nvPr>
        </p:nvSpPr>
        <p:spPr>
          <a:xfrm>
            <a:off x="4308035"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32" name="Picture Placeholder 7">
            <a:extLst>
              <a:ext uri="{FF2B5EF4-FFF2-40B4-BE49-F238E27FC236}">
                <a16:creationId xmlns:a16="http://schemas.microsoft.com/office/drawing/2014/main" id="{C76A1F97-0A75-BD4D-BA6D-656B14A955D1}"/>
              </a:ext>
            </a:extLst>
          </p:cNvPr>
          <p:cNvSpPr>
            <a:spLocks noGrp="1"/>
          </p:cNvSpPr>
          <p:nvPr>
            <p:ph type="pic" sz="quarter" idx="38"/>
          </p:nvPr>
        </p:nvSpPr>
        <p:spPr>
          <a:xfrm>
            <a:off x="4690622"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33" name="Text Placeholder 4">
            <a:extLst>
              <a:ext uri="{FF2B5EF4-FFF2-40B4-BE49-F238E27FC236}">
                <a16:creationId xmlns:a16="http://schemas.microsoft.com/office/drawing/2014/main" id="{CD916EA2-8B5B-7749-9833-BD3AAEB0BA64}"/>
              </a:ext>
            </a:extLst>
          </p:cNvPr>
          <p:cNvSpPr>
            <a:spLocks noGrp="1"/>
          </p:cNvSpPr>
          <p:nvPr>
            <p:ph type="body" sz="quarter" idx="39" hasCustomPrompt="1"/>
          </p:nvPr>
        </p:nvSpPr>
        <p:spPr>
          <a:xfrm>
            <a:off x="6216928"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34" name="Text Placeholder 4">
            <a:extLst>
              <a:ext uri="{FF2B5EF4-FFF2-40B4-BE49-F238E27FC236}">
                <a16:creationId xmlns:a16="http://schemas.microsoft.com/office/drawing/2014/main" id="{2B761728-8BB5-7C4B-A669-4B3DA236D655}"/>
              </a:ext>
            </a:extLst>
          </p:cNvPr>
          <p:cNvSpPr>
            <a:spLocks noGrp="1"/>
          </p:cNvSpPr>
          <p:nvPr>
            <p:ph type="body" sz="quarter" idx="40" hasCustomPrompt="1"/>
          </p:nvPr>
        </p:nvSpPr>
        <p:spPr>
          <a:xfrm>
            <a:off x="6216928"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35" name="Picture Placeholder 7">
            <a:extLst>
              <a:ext uri="{FF2B5EF4-FFF2-40B4-BE49-F238E27FC236}">
                <a16:creationId xmlns:a16="http://schemas.microsoft.com/office/drawing/2014/main" id="{468D7D8C-1D74-7749-ACAE-DD956F429E07}"/>
              </a:ext>
            </a:extLst>
          </p:cNvPr>
          <p:cNvSpPr>
            <a:spLocks noGrp="1"/>
          </p:cNvSpPr>
          <p:nvPr>
            <p:ph type="pic" sz="quarter" idx="41"/>
          </p:nvPr>
        </p:nvSpPr>
        <p:spPr>
          <a:xfrm>
            <a:off x="6599515"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36" name="Text Placeholder 4">
            <a:extLst>
              <a:ext uri="{FF2B5EF4-FFF2-40B4-BE49-F238E27FC236}">
                <a16:creationId xmlns:a16="http://schemas.microsoft.com/office/drawing/2014/main" id="{5115002D-A2C1-3D47-8436-81012F937E85}"/>
              </a:ext>
            </a:extLst>
          </p:cNvPr>
          <p:cNvSpPr>
            <a:spLocks noGrp="1"/>
          </p:cNvSpPr>
          <p:nvPr>
            <p:ph type="body" sz="quarter" idx="42" hasCustomPrompt="1"/>
          </p:nvPr>
        </p:nvSpPr>
        <p:spPr>
          <a:xfrm>
            <a:off x="8139170"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37" name="Text Placeholder 4">
            <a:extLst>
              <a:ext uri="{FF2B5EF4-FFF2-40B4-BE49-F238E27FC236}">
                <a16:creationId xmlns:a16="http://schemas.microsoft.com/office/drawing/2014/main" id="{52CA7F72-BC77-AB40-96F2-E54F449FEBA0}"/>
              </a:ext>
            </a:extLst>
          </p:cNvPr>
          <p:cNvSpPr>
            <a:spLocks noGrp="1"/>
          </p:cNvSpPr>
          <p:nvPr>
            <p:ph type="body" sz="quarter" idx="43" hasCustomPrompt="1"/>
          </p:nvPr>
        </p:nvSpPr>
        <p:spPr>
          <a:xfrm>
            <a:off x="8139170"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38" name="Picture Placeholder 7">
            <a:extLst>
              <a:ext uri="{FF2B5EF4-FFF2-40B4-BE49-F238E27FC236}">
                <a16:creationId xmlns:a16="http://schemas.microsoft.com/office/drawing/2014/main" id="{C2C35CCF-59F6-C041-BA4A-796054E77C0F}"/>
              </a:ext>
            </a:extLst>
          </p:cNvPr>
          <p:cNvSpPr>
            <a:spLocks noGrp="1"/>
          </p:cNvSpPr>
          <p:nvPr>
            <p:ph type="pic" sz="quarter" idx="44"/>
          </p:nvPr>
        </p:nvSpPr>
        <p:spPr>
          <a:xfrm>
            <a:off x="8521757"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39" name="Text Placeholder 4">
            <a:extLst>
              <a:ext uri="{FF2B5EF4-FFF2-40B4-BE49-F238E27FC236}">
                <a16:creationId xmlns:a16="http://schemas.microsoft.com/office/drawing/2014/main" id="{EE03E675-6CAE-E140-A3D4-6495DA757EAB}"/>
              </a:ext>
            </a:extLst>
          </p:cNvPr>
          <p:cNvSpPr>
            <a:spLocks noGrp="1"/>
          </p:cNvSpPr>
          <p:nvPr>
            <p:ph type="body" sz="quarter" idx="45" hasCustomPrompt="1"/>
          </p:nvPr>
        </p:nvSpPr>
        <p:spPr>
          <a:xfrm>
            <a:off x="10054738"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40" name="Text Placeholder 4">
            <a:extLst>
              <a:ext uri="{FF2B5EF4-FFF2-40B4-BE49-F238E27FC236}">
                <a16:creationId xmlns:a16="http://schemas.microsoft.com/office/drawing/2014/main" id="{8B051DED-7DBA-954E-84D8-696F32F899B8}"/>
              </a:ext>
            </a:extLst>
          </p:cNvPr>
          <p:cNvSpPr>
            <a:spLocks noGrp="1"/>
          </p:cNvSpPr>
          <p:nvPr>
            <p:ph type="body" sz="quarter" idx="46" hasCustomPrompt="1"/>
          </p:nvPr>
        </p:nvSpPr>
        <p:spPr>
          <a:xfrm>
            <a:off x="10054738"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41" name="Picture Placeholder 7">
            <a:extLst>
              <a:ext uri="{FF2B5EF4-FFF2-40B4-BE49-F238E27FC236}">
                <a16:creationId xmlns:a16="http://schemas.microsoft.com/office/drawing/2014/main" id="{CFF36F95-2DB5-7F47-A3F3-20BF39ADC5A8}"/>
              </a:ext>
            </a:extLst>
          </p:cNvPr>
          <p:cNvSpPr>
            <a:spLocks noGrp="1"/>
          </p:cNvSpPr>
          <p:nvPr>
            <p:ph type="pic" sz="quarter" idx="47"/>
          </p:nvPr>
        </p:nvSpPr>
        <p:spPr>
          <a:xfrm>
            <a:off x="10437325"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4" name="Text Placeholder 3">
            <a:extLst>
              <a:ext uri="{FF2B5EF4-FFF2-40B4-BE49-F238E27FC236}">
                <a16:creationId xmlns:a16="http://schemas.microsoft.com/office/drawing/2014/main" id="{A5D78FFD-DE70-214B-53FB-413EABED71C7}"/>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6525380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Up 1 ">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cxnSp>
        <p:nvCxnSpPr>
          <p:cNvPr id="13" name="Straight Connector 12">
            <a:extLst>
              <a:ext uri="{FF2B5EF4-FFF2-40B4-BE49-F238E27FC236}">
                <a16:creationId xmlns:a16="http://schemas.microsoft.com/office/drawing/2014/main" id="{2C6E06F0-2580-5A49-98CA-34E91A0D2C89}"/>
              </a:ext>
            </a:extLst>
          </p:cNvPr>
          <p:cNvCxnSpPr>
            <a:cxnSpLocks/>
          </p:cNvCxnSpPr>
          <p:nvPr userDrawn="1"/>
        </p:nvCxnSpPr>
        <p:spPr>
          <a:xfrm>
            <a:off x="6099533" y="1677410"/>
            <a:ext cx="0" cy="187118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B9996DA-4693-AF44-A11B-9EE0B94D1690}"/>
              </a:ext>
            </a:extLst>
          </p:cNvPr>
          <p:cNvCxnSpPr>
            <a:cxnSpLocks/>
          </p:cNvCxnSpPr>
          <p:nvPr userDrawn="1"/>
        </p:nvCxnSpPr>
        <p:spPr>
          <a:xfrm>
            <a:off x="6099533" y="4014884"/>
            <a:ext cx="0" cy="187118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F416A43-9211-2E49-BAB8-1BD8D9816424}"/>
              </a:ext>
            </a:extLst>
          </p:cNvPr>
          <p:cNvCxnSpPr/>
          <p:nvPr userDrawn="1"/>
        </p:nvCxnSpPr>
        <p:spPr>
          <a:xfrm flipH="1">
            <a:off x="457200" y="3781741"/>
            <a:ext cx="545915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85D7B38-0887-2F46-8E24-5542606312A7}"/>
              </a:ext>
            </a:extLst>
          </p:cNvPr>
          <p:cNvCxnSpPr/>
          <p:nvPr userDrawn="1"/>
        </p:nvCxnSpPr>
        <p:spPr>
          <a:xfrm flipH="1">
            <a:off x="6282717" y="3781741"/>
            <a:ext cx="545915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4849FDE5-105E-BE4B-A853-CB71E6171367}"/>
              </a:ext>
            </a:extLst>
          </p:cNvPr>
          <p:cNvSpPr>
            <a:spLocks noGrp="1"/>
          </p:cNvSpPr>
          <p:nvPr>
            <p:ph type="body" sz="quarter" idx="10" hasCustomPrompt="1"/>
          </p:nvPr>
        </p:nvSpPr>
        <p:spPr>
          <a:xfrm>
            <a:off x="902497" y="2223070"/>
            <a:ext cx="1329714" cy="983745"/>
          </a:xfrm>
        </p:spPr>
        <p:txBody>
          <a:bodyPr/>
          <a:lstStyle>
            <a:lvl1pPr>
              <a:defRPr sz="6800" b="0" i="0">
                <a:solidFill>
                  <a:schemeClr val="accent2"/>
                </a:solidFill>
                <a:latin typeface="Elevance Sans Medium" pitchFamily="2" charset="0"/>
              </a:defRPr>
            </a:lvl1pPr>
          </a:lstStyle>
          <a:p>
            <a:pPr lvl="0"/>
            <a:r>
              <a:rPr lang="en-US" dirty="0"/>
              <a:t>XX</a:t>
            </a:r>
          </a:p>
        </p:txBody>
      </p:sp>
      <p:sp>
        <p:nvSpPr>
          <p:cNvPr id="18" name="Text Placeholder 16">
            <a:extLst>
              <a:ext uri="{FF2B5EF4-FFF2-40B4-BE49-F238E27FC236}">
                <a16:creationId xmlns:a16="http://schemas.microsoft.com/office/drawing/2014/main" id="{F206106F-2A33-A745-A741-D61DB0867B45}"/>
              </a:ext>
            </a:extLst>
          </p:cNvPr>
          <p:cNvSpPr>
            <a:spLocks noGrp="1"/>
          </p:cNvSpPr>
          <p:nvPr>
            <p:ph type="body" sz="quarter" idx="11" hasCustomPrompt="1"/>
          </p:nvPr>
        </p:nvSpPr>
        <p:spPr>
          <a:xfrm>
            <a:off x="6621980" y="2223070"/>
            <a:ext cx="1329714" cy="983745"/>
          </a:xfrm>
        </p:spPr>
        <p:txBody>
          <a:bodyPr/>
          <a:lstStyle>
            <a:lvl1pPr>
              <a:defRPr sz="6800" b="0" i="0">
                <a:solidFill>
                  <a:schemeClr val="accent2"/>
                </a:solidFill>
                <a:latin typeface="Elevance Sans Medium" pitchFamily="2" charset="0"/>
              </a:defRPr>
            </a:lvl1pPr>
          </a:lstStyle>
          <a:p>
            <a:pPr lvl="0"/>
            <a:r>
              <a:rPr lang="en-US" dirty="0"/>
              <a:t>XX</a:t>
            </a:r>
          </a:p>
        </p:txBody>
      </p:sp>
      <p:sp>
        <p:nvSpPr>
          <p:cNvPr id="19" name="Text Placeholder 16">
            <a:extLst>
              <a:ext uri="{FF2B5EF4-FFF2-40B4-BE49-F238E27FC236}">
                <a16:creationId xmlns:a16="http://schemas.microsoft.com/office/drawing/2014/main" id="{A8E7582B-02F1-674F-A5A3-E9BC144DBB50}"/>
              </a:ext>
            </a:extLst>
          </p:cNvPr>
          <p:cNvSpPr>
            <a:spLocks noGrp="1"/>
          </p:cNvSpPr>
          <p:nvPr>
            <p:ph type="body" sz="quarter" idx="12" hasCustomPrompt="1"/>
          </p:nvPr>
        </p:nvSpPr>
        <p:spPr>
          <a:xfrm>
            <a:off x="902497" y="4302882"/>
            <a:ext cx="1329714" cy="983745"/>
          </a:xfrm>
        </p:spPr>
        <p:txBody>
          <a:bodyPr/>
          <a:lstStyle>
            <a:lvl1pPr>
              <a:defRPr sz="6800" b="0" i="0">
                <a:solidFill>
                  <a:schemeClr val="accent2"/>
                </a:solidFill>
                <a:latin typeface="Elevance Sans Medium" pitchFamily="2" charset="0"/>
              </a:defRPr>
            </a:lvl1pPr>
          </a:lstStyle>
          <a:p>
            <a:pPr lvl="0"/>
            <a:r>
              <a:rPr lang="en-US" dirty="0"/>
              <a:t>XX</a:t>
            </a:r>
          </a:p>
        </p:txBody>
      </p:sp>
      <p:sp>
        <p:nvSpPr>
          <p:cNvPr id="20" name="Text Placeholder 16">
            <a:extLst>
              <a:ext uri="{FF2B5EF4-FFF2-40B4-BE49-F238E27FC236}">
                <a16:creationId xmlns:a16="http://schemas.microsoft.com/office/drawing/2014/main" id="{5BDF288F-53B9-154C-9319-69499F536D3F}"/>
              </a:ext>
            </a:extLst>
          </p:cNvPr>
          <p:cNvSpPr>
            <a:spLocks noGrp="1"/>
          </p:cNvSpPr>
          <p:nvPr>
            <p:ph type="body" sz="quarter" idx="13" hasCustomPrompt="1"/>
          </p:nvPr>
        </p:nvSpPr>
        <p:spPr>
          <a:xfrm>
            <a:off x="6621980" y="4302882"/>
            <a:ext cx="1329714" cy="983745"/>
          </a:xfrm>
        </p:spPr>
        <p:txBody>
          <a:bodyPr/>
          <a:lstStyle>
            <a:lvl1pPr>
              <a:defRPr sz="6800" b="0" i="0">
                <a:solidFill>
                  <a:schemeClr val="accent2"/>
                </a:solidFill>
                <a:latin typeface="Elevance Sans Medium" pitchFamily="2" charset="0"/>
              </a:defRPr>
            </a:lvl1pPr>
          </a:lstStyle>
          <a:p>
            <a:pPr lvl="0"/>
            <a:r>
              <a:rPr lang="en-US" dirty="0"/>
              <a:t>XX</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2431850" y="2307195"/>
            <a:ext cx="3273131" cy="833490"/>
          </a:xfrm>
        </p:spPr>
        <p:txBody>
          <a:bodyPr/>
          <a:lstStyle>
            <a:lvl1pPr>
              <a:spcBef>
                <a:spcPts val="0"/>
              </a:spcBef>
              <a:defRPr sz="1400"/>
            </a:lvl1pPr>
            <a:lvl2pPr marL="12700" indent="0">
              <a:spcBef>
                <a:spcPts val="0"/>
              </a:spcBef>
              <a:tabLst/>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8170043" y="2307195"/>
            <a:ext cx="3273131" cy="833490"/>
          </a:xfrm>
        </p:spPr>
        <p:txBody>
          <a:bodyPr/>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2431850" y="4413901"/>
            <a:ext cx="3273131" cy="833490"/>
          </a:xfrm>
        </p:spPr>
        <p:txBody>
          <a:bodyPr/>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8170043" y="4413901"/>
            <a:ext cx="3273131" cy="833490"/>
          </a:xfrm>
        </p:spPr>
        <p:txBody>
          <a:bodyPr/>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 name="Text Placeholder 3">
            <a:extLst>
              <a:ext uri="{FF2B5EF4-FFF2-40B4-BE49-F238E27FC236}">
                <a16:creationId xmlns:a16="http://schemas.microsoft.com/office/drawing/2014/main" id="{9CF1B548-CDEC-0357-4EBC-B303CD144449}"/>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3879233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Up 2">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F675797-F0AF-7D47-B826-B1C69AB2E373}"/>
              </a:ext>
            </a:extLst>
          </p:cNvPr>
          <p:cNvSpPr>
            <a:spLocks noGrp="1"/>
          </p:cNvSpPr>
          <p:nvPr>
            <p:ph type="body" sz="quarter" idx="18"/>
          </p:nvPr>
        </p:nvSpPr>
        <p:spPr>
          <a:xfrm>
            <a:off x="457200" y="1737622"/>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3" name="Text Placeholder 4">
            <a:extLst>
              <a:ext uri="{FF2B5EF4-FFF2-40B4-BE49-F238E27FC236}">
                <a16:creationId xmlns:a16="http://schemas.microsoft.com/office/drawing/2014/main" id="{7F6EDBC3-168B-CF46-BFC4-E8C95CFB3499}"/>
              </a:ext>
            </a:extLst>
          </p:cNvPr>
          <p:cNvSpPr>
            <a:spLocks noGrp="1"/>
          </p:cNvSpPr>
          <p:nvPr>
            <p:ph type="body" sz="quarter" idx="19"/>
          </p:nvPr>
        </p:nvSpPr>
        <p:spPr>
          <a:xfrm>
            <a:off x="6126480" y="1737622"/>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4" name="Text Placeholder 4">
            <a:extLst>
              <a:ext uri="{FF2B5EF4-FFF2-40B4-BE49-F238E27FC236}">
                <a16:creationId xmlns:a16="http://schemas.microsoft.com/office/drawing/2014/main" id="{0CE2A664-C16E-5147-9B30-8AD5A22398E3}"/>
              </a:ext>
            </a:extLst>
          </p:cNvPr>
          <p:cNvSpPr>
            <a:spLocks noGrp="1"/>
          </p:cNvSpPr>
          <p:nvPr>
            <p:ph type="body" sz="quarter" idx="20"/>
          </p:nvPr>
        </p:nvSpPr>
        <p:spPr>
          <a:xfrm>
            <a:off x="457200" y="3905766"/>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5" name="Text Placeholder 4">
            <a:extLst>
              <a:ext uri="{FF2B5EF4-FFF2-40B4-BE49-F238E27FC236}">
                <a16:creationId xmlns:a16="http://schemas.microsoft.com/office/drawing/2014/main" id="{61CE08F7-4DC1-5549-B0ED-CCB370F612C8}"/>
              </a:ext>
            </a:extLst>
          </p:cNvPr>
          <p:cNvSpPr>
            <a:spLocks noGrp="1"/>
          </p:cNvSpPr>
          <p:nvPr>
            <p:ph type="body" sz="quarter" idx="21"/>
          </p:nvPr>
        </p:nvSpPr>
        <p:spPr>
          <a:xfrm>
            <a:off x="6126480" y="3905766"/>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6690868" y="2311643"/>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997498" y="2311643"/>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997498" y="4471056"/>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6690868" y="4471056"/>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sp>
        <p:nvSpPr>
          <p:cNvPr id="2" name="Text Placeholder 3">
            <a:extLst>
              <a:ext uri="{FF2B5EF4-FFF2-40B4-BE49-F238E27FC236}">
                <a16:creationId xmlns:a16="http://schemas.microsoft.com/office/drawing/2014/main" id="{FFF28754-4F75-7990-4BE9-3A42D01E3EAD}"/>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5967934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ur Up 3">
    <p:spTree>
      <p:nvGrpSpPr>
        <p:cNvPr id="1" name=""/>
        <p:cNvGrpSpPr/>
        <p:nvPr/>
      </p:nvGrpSpPr>
      <p:grpSpPr>
        <a:xfrm>
          <a:off x="0" y="0"/>
          <a:ext cx="0" cy="0"/>
          <a:chOff x="0" y="0"/>
          <a:chExt cx="0" cy="0"/>
        </a:xfrm>
      </p:grpSpPr>
      <p:sp>
        <p:nvSpPr>
          <p:cNvPr id="37" name="Text Placeholder 4">
            <a:extLst>
              <a:ext uri="{FF2B5EF4-FFF2-40B4-BE49-F238E27FC236}">
                <a16:creationId xmlns:a16="http://schemas.microsoft.com/office/drawing/2014/main" id="{875F6157-AD74-F941-B422-398794332098}"/>
              </a:ext>
            </a:extLst>
          </p:cNvPr>
          <p:cNvSpPr>
            <a:spLocks noGrp="1"/>
          </p:cNvSpPr>
          <p:nvPr>
            <p:ph type="body" sz="quarter" idx="19"/>
          </p:nvPr>
        </p:nvSpPr>
        <p:spPr>
          <a:xfrm>
            <a:off x="4684391" y="1737621"/>
            <a:ext cx="2327987" cy="4269479"/>
          </a:xfrm>
          <a:solidFill>
            <a:srgbClr val="F5F5F5"/>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8" name="Text Placeholder 4">
            <a:extLst>
              <a:ext uri="{FF2B5EF4-FFF2-40B4-BE49-F238E27FC236}">
                <a16:creationId xmlns:a16="http://schemas.microsoft.com/office/drawing/2014/main" id="{0B9D8E76-D2A2-5648-B2DB-A62CD2D6A61B}"/>
              </a:ext>
            </a:extLst>
          </p:cNvPr>
          <p:cNvSpPr>
            <a:spLocks noGrp="1"/>
          </p:cNvSpPr>
          <p:nvPr>
            <p:ph type="body" sz="quarter" idx="20"/>
          </p:nvPr>
        </p:nvSpPr>
        <p:spPr>
          <a:xfrm>
            <a:off x="7044077" y="1737621"/>
            <a:ext cx="2327987" cy="4269479"/>
          </a:xfrm>
          <a:solidFill>
            <a:srgbClr val="F5F5F5"/>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9" name="Text Placeholder 4">
            <a:extLst>
              <a:ext uri="{FF2B5EF4-FFF2-40B4-BE49-F238E27FC236}">
                <a16:creationId xmlns:a16="http://schemas.microsoft.com/office/drawing/2014/main" id="{20492DC6-9657-A84D-AA7B-58D54CBB7A2A}"/>
              </a:ext>
            </a:extLst>
          </p:cNvPr>
          <p:cNvSpPr>
            <a:spLocks noGrp="1"/>
          </p:cNvSpPr>
          <p:nvPr>
            <p:ph type="body" sz="quarter" idx="21"/>
          </p:nvPr>
        </p:nvSpPr>
        <p:spPr>
          <a:xfrm>
            <a:off x="9403763" y="1737621"/>
            <a:ext cx="2327987" cy="4269479"/>
          </a:xfrm>
          <a:solidFill>
            <a:srgbClr val="F5F5F5"/>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43" name="Text Placeholder 7">
            <a:extLst>
              <a:ext uri="{FF2B5EF4-FFF2-40B4-BE49-F238E27FC236}">
                <a16:creationId xmlns:a16="http://schemas.microsoft.com/office/drawing/2014/main" id="{7C67F79F-A16B-8F48-A460-2D06F52DCC63}"/>
              </a:ext>
            </a:extLst>
          </p:cNvPr>
          <p:cNvSpPr>
            <a:spLocks noGrp="1"/>
          </p:cNvSpPr>
          <p:nvPr>
            <p:ph type="body" sz="quarter" idx="27"/>
          </p:nvPr>
        </p:nvSpPr>
        <p:spPr>
          <a:xfrm>
            <a:off x="7275725" y="2629502"/>
            <a:ext cx="1802369" cy="2976168"/>
          </a:xfrm>
        </p:spPr>
        <p:txBody>
          <a:bodyPr/>
          <a:lstStyle>
            <a:lvl1pPr>
              <a:defRPr sz="1400" b="0" i="0">
                <a:latin typeface="Elevance Sans" pitchFamily="2" charset="77"/>
              </a:defRPr>
            </a:lvl1pPr>
          </a:lstStyle>
          <a:p>
            <a:pPr lvl="0"/>
            <a:r>
              <a:rPr lang="en-US"/>
              <a:t>Click to edit Master text styles</a:t>
            </a:r>
          </a:p>
        </p:txBody>
      </p:sp>
      <p:sp>
        <p:nvSpPr>
          <p:cNvPr id="8" name="Text Placeholder 7">
            <a:extLst>
              <a:ext uri="{FF2B5EF4-FFF2-40B4-BE49-F238E27FC236}">
                <a16:creationId xmlns:a16="http://schemas.microsoft.com/office/drawing/2014/main" id="{4C09F171-D2FC-724F-A2F1-83AC74A0C414}"/>
              </a:ext>
            </a:extLst>
          </p:cNvPr>
          <p:cNvSpPr>
            <a:spLocks noGrp="1"/>
          </p:cNvSpPr>
          <p:nvPr>
            <p:ph type="body" sz="quarter" idx="26"/>
          </p:nvPr>
        </p:nvSpPr>
        <p:spPr>
          <a:xfrm>
            <a:off x="4939795" y="2629502"/>
            <a:ext cx="1802369" cy="2976168"/>
          </a:xfrm>
        </p:spPr>
        <p:txBody>
          <a:bodyPr/>
          <a:lstStyle>
            <a:lvl1pPr>
              <a:defRPr sz="1400" b="0" i="0">
                <a:latin typeface="Elevance Sans" pitchFamily="2" charset="77"/>
              </a:defRPr>
            </a:lvl1pPr>
          </a:lstStyle>
          <a:p>
            <a:pPr lvl="0"/>
            <a:r>
              <a:rPr lang="en-US"/>
              <a:t>Click to edit Master text styles</a:t>
            </a:r>
          </a:p>
        </p:txBody>
      </p:sp>
      <p:sp>
        <p:nvSpPr>
          <p:cNvPr id="44" name="Text Placeholder 7">
            <a:extLst>
              <a:ext uri="{FF2B5EF4-FFF2-40B4-BE49-F238E27FC236}">
                <a16:creationId xmlns:a16="http://schemas.microsoft.com/office/drawing/2014/main" id="{0886DACC-8B94-1049-99F5-38D402063D40}"/>
              </a:ext>
            </a:extLst>
          </p:cNvPr>
          <p:cNvSpPr>
            <a:spLocks noGrp="1"/>
          </p:cNvSpPr>
          <p:nvPr>
            <p:ph type="body" sz="quarter" idx="28"/>
          </p:nvPr>
        </p:nvSpPr>
        <p:spPr>
          <a:xfrm>
            <a:off x="9642278" y="2629502"/>
            <a:ext cx="1802369" cy="2976168"/>
          </a:xfrm>
        </p:spPr>
        <p:txBody>
          <a:bodyPr/>
          <a:lstStyle>
            <a:lvl1pPr>
              <a:defRPr sz="1400" b="0" i="0">
                <a:latin typeface="Elevance Sans"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7FDE759B-B6F2-3D4A-9BFA-89DFE2644693}"/>
              </a:ext>
            </a:extLst>
          </p:cNvPr>
          <p:cNvSpPr>
            <a:spLocks noGrp="1"/>
          </p:cNvSpPr>
          <p:nvPr>
            <p:ph type="body" sz="quarter" idx="18"/>
          </p:nvPr>
        </p:nvSpPr>
        <p:spPr>
          <a:xfrm>
            <a:off x="457200" y="1737621"/>
            <a:ext cx="4195492" cy="4269479"/>
          </a:xfrm>
          <a:solidFill>
            <a:schemeClr val="accent1"/>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6" name="Text Placeholder 5">
            <a:extLst>
              <a:ext uri="{FF2B5EF4-FFF2-40B4-BE49-F238E27FC236}">
                <a16:creationId xmlns:a16="http://schemas.microsoft.com/office/drawing/2014/main" id="{113370B3-825E-D34B-8FDF-7533F97F3B0F}"/>
              </a:ext>
            </a:extLst>
          </p:cNvPr>
          <p:cNvSpPr>
            <a:spLocks noGrp="1"/>
          </p:cNvSpPr>
          <p:nvPr>
            <p:ph type="body" sz="quarter" idx="22" hasCustomPrompt="1"/>
          </p:nvPr>
        </p:nvSpPr>
        <p:spPr>
          <a:xfrm>
            <a:off x="755601" y="1948308"/>
            <a:ext cx="1652266" cy="268434"/>
          </a:xfrm>
        </p:spPr>
        <p:txBody>
          <a:bodyPr/>
          <a:lstStyle>
            <a:lvl1pPr>
              <a:defRPr sz="1500">
                <a:solidFill>
                  <a:schemeClr val="bg1"/>
                </a:solidFill>
              </a:defRPr>
            </a:lvl1pPr>
          </a:lstStyle>
          <a:p>
            <a:pPr lvl="0"/>
            <a:r>
              <a:rPr lang="en-US" dirty="0"/>
              <a:t>Subtitle text</a:t>
            </a:r>
          </a:p>
        </p:txBody>
      </p:sp>
      <p:sp>
        <p:nvSpPr>
          <p:cNvPr id="40" name="Text Placeholder 5">
            <a:extLst>
              <a:ext uri="{FF2B5EF4-FFF2-40B4-BE49-F238E27FC236}">
                <a16:creationId xmlns:a16="http://schemas.microsoft.com/office/drawing/2014/main" id="{5E27056C-29C0-2045-816E-9E902F2F596B}"/>
              </a:ext>
            </a:extLst>
          </p:cNvPr>
          <p:cNvSpPr>
            <a:spLocks noGrp="1"/>
          </p:cNvSpPr>
          <p:nvPr>
            <p:ph type="body" sz="quarter" idx="23" hasCustomPrompt="1"/>
          </p:nvPr>
        </p:nvSpPr>
        <p:spPr>
          <a:xfrm>
            <a:off x="4909237" y="1948308"/>
            <a:ext cx="1652266" cy="268434"/>
          </a:xfrm>
        </p:spPr>
        <p:txBody>
          <a:bodyPr/>
          <a:lstStyle>
            <a:lvl1pPr>
              <a:defRPr sz="1500">
                <a:solidFill>
                  <a:schemeClr val="accent2"/>
                </a:solidFill>
              </a:defRPr>
            </a:lvl1pPr>
          </a:lstStyle>
          <a:p>
            <a:pPr lvl="0"/>
            <a:r>
              <a:rPr lang="en-US" dirty="0"/>
              <a:t>Subtitle text</a:t>
            </a:r>
          </a:p>
        </p:txBody>
      </p:sp>
      <p:sp>
        <p:nvSpPr>
          <p:cNvPr id="41" name="Text Placeholder 5">
            <a:extLst>
              <a:ext uri="{FF2B5EF4-FFF2-40B4-BE49-F238E27FC236}">
                <a16:creationId xmlns:a16="http://schemas.microsoft.com/office/drawing/2014/main" id="{50958210-96E8-1E49-B317-7E8680A7B0A7}"/>
              </a:ext>
            </a:extLst>
          </p:cNvPr>
          <p:cNvSpPr>
            <a:spLocks noGrp="1"/>
          </p:cNvSpPr>
          <p:nvPr>
            <p:ph type="body" sz="quarter" idx="24" hasCustomPrompt="1"/>
          </p:nvPr>
        </p:nvSpPr>
        <p:spPr>
          <a:xfrm>
            <a:off x="7275725" y="1948308"/>
            <a:ext cx="1652266" cy="268434"/>
          </a:xfrm>
        </p:spPr>
        <p:txBody>
          <a:bodyPr/>
          <a:lstStyle>
            <a:lvl1pPr>
              <a:defRPr sz="1500">
                <a:solidFill>
                  <a:schemeClr val="accent2"/>
                </a:solidFill>
              </a:defRPr>
            </a:lvl1pPr>
          </a:lstStyle>
          <a:p>
            <a:pPr lvl="0"/>
            <a:r>
              <a:rPr lang="en-US" dirty="0"/>
              <a:t>Subtitle text</a:t>
            </a:r>
          </a:p>
        </p:txBody>
      </p:sp>
      <p:sp>
        <p:nvSpPr>
          <p:cNvPr id="42" name="Text Placeholder 5">
            <a:extLst>
              <a:ext uri="{FF2B5EF4-FFF2-40B4-BE49-F238E27FC236}">
                <a16:creationId xmlns:a16="http://schemas.microsoft.com/office/drawing/2014/main" id="{9EF4BB56-4511-4D4B-B1CE-7496C1BDBE62}"/>
              </a:ext>
            </a:extLst>
          </p:cNvPr>
          <p:cNvSpPr>
            <a:spLocks noGrp="1"/>
          </p:cNvSpPr>
          <p:nvPr>
            <p:ph type="body" sz="quarter" idx="25" hasCustomPrompt="1"/>
          </p:nvPr>
        </p:nvSpPr>
        <p:spPr>
          <a:xfrm>
            <a:off x="9642278" y="1948308"/>
            <a:ext cx="1652266" cy="268434"/>
          </a:xfrm>
        </p:spPr>
        <p:txBody>
          <a:bodyPr/>
          <a:lstStyle>
            <a:lvl1pPr>
              <a:defRPr sz="1500">
                <a:solidFill>
                  <a:schemeClr val="accent2"/>
                </a:solidFill>
              </a:defRPr>
            </a:lvl1pPr>
          </a:lstStyle>
          <a:p>
            <a:pPr lvl="0"/>
            <a:r>
              <a:rPr lang="en-US" dirty="0"/>
              <a:t>Subtitle text</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sp>
        <p:nvSpPr>
          <p:cNvPr id="45" name="Text Placeholder 7">
            <a:extLst>
              <a:ext uri="{FF2B5EF4-FFF2-40B4-BE49-F238E27FC236}">
                <a16:creationId xmlns:a16="http://schemas.microsoft.com/office/drawing/2014/main" id="{AA5D0AF0-14B5-FB4C-9A3D-38570A770590}"/>
              </a:ext>
            </a:extLst>
          </p:cNvPr>
          <p:cNvSpPr>
            <a:spLocks noGrp="1"/>
          </p:cNvSpPr>
          <p:nvPr>
            <p:ph type="body" sz="quarter" idx="29"/>
          </p:nvPr>
        </p:nvSpPr>
        <p:spPr>
          <a:xfrm>
            <a:off x="2183241" y="2691503"/>
            <a:ext cx="2230936" cy="439148"/>
          </a:xfrm>
        </p:spPr>
        <p:txBody>
          <a:bodyPr/>
          <a:lstStyle>
            <a:lvl1pPr>
              <a:defRPr sz="1400" b="0" i="0">
                <a:solidFill>
                  <a:schemeClr val="bg1"/>
                </a:solidFill>
                <a:latin typeface="Elevance Sans" pitchFamily="2" charset="77"/>
              </a:defRPr>
            </a:lvl1pPr>
          </a:lstStyle>
          <a:p>
            <a:pPr lvl="0"/>
            <a:r>
              <a:rPr lang="en-US"/>
              <a:t>Click to edit Master text styles</a:t>
            </a:r>
          </a:p>
        </p:txBody>
      </p:sp>
      <p:sp>
        <p:nvSpPr>
          <p:cNvPr id="46" name="Text Placeholder 7">
            <a:extLst>
              <a:ext uri="{FF2B5EF4-FFF2-40B4-BE49-F238E27FC236}">
                <a16:creationId xmlns:a16="http://schemas.microsoft.com/office/drawing/2014/main" id="{CEDDFC23-987F-D649-AC0A-8278DC76612B}"/>
              </a:ext>
            </a:extLst>
          </p:cNvPr>
          <p:cNvSpPr>
            <a:spLocks noGrp="1"/>
          </p:cNvSpPr>
          <p:nvPr>
            <p:ph type="body" sz="quarter" idx="30"/>
          </p:nvPr>
        </p:nvSpPr>
        <p:spPr>
          <a:xfrm>
            <a:off x="2183241" y="3548490"/>
            <a:ext cx="2230936" cy="439148"/>
          </a:xfrm>
        </p:spPr>
        <p:txBody>
          <a:bodyPr/>
          <a:lstStyle>
            <a:lvl1pPr>
              <a:defRPr sz="1400" b="0" i="0">
                <a:solidFill>
                  <a:schemeClr val="bg1"/>
                </a:solidFill>
                <a:latin typeface="Elevance Sans" pitchFamily="2" charset="77"/>
              </a:defRPr>
            </a:lvl1pPr>
          </a:lstStyle>
          <a:p>
            <a:pPr lvl="0"/>
            <a:r>
              <a:rPr lang="en-US"/>
              <a:t>Click to edit Master text styles</a:t>
            </a:r>
          </a:p>
        </p:txBody>
      </p:sp>
      <p:sp>
        <p:nvSpPr>
          <p:cNvPr id="47" name="Text Placeholder 7">
            <a:extLst>
              <a:ext uri="{FF2B5EF4-FFF2-40B4-BE49-F238E27FC236}">
                <a16:creationId xmlns:a16="http://schemas.microsoft.com/office/drawing/2014/main" id="{5F06E18E-6C35-ED44-B0A1-A45465982C84}"/>
              </a:ext>
            </a:extLst>
          </p:cNvPr>
          <p:cNvSpPr>
            <a:spLocks noGrp="1"/>
          </p:cNvSpPr>
          <p:nvPr>
            <p:ph type="body" sz="quarter" idx="31"/>
          </p:nvPr>
        </p:nvSpPr>
        <p:spPr>
          <a:xfrm>
            <a:off x="2183241" y="4405478"/>
            <a:ext cx="2230936" cy="439148"/>
          </a:xfrm>
        </p:spPr>
        <p:txBody>
          <a:bodyPr/>
          <a:lstStyle>
            <a:lvl1pPr>
              <a:defRPr sz="1400" b="0" i="0">
                <a:solidFill>
                  <a:schemeClr val="bg1"/>
                </a:solidFill>
                <a:latin typeface="Elevance Sans" pitchFamily="2" charset="77"/>
              </a:defRPr>
            </a:lvl1pPr>
          </a:lstStyle>
          <a:p>
            <a:pPr lvl="0"/>
            <a:r>
              <a:rPr lang="en-US"/>
              <a:t>Click to edit Master text styles</a:t>
            </a:r>
          </a:p>
        </p:txBody>
      </p:sp>
      <p:sp>
        <p:nvSpPr>
          <p:cNvPr id="48" name="Text Placeholder 16">
            <a:extLst>
              <a:ext uri="{FF2B5EF4-FFF2-40B4-BE49-F238E27FC236}">
                <a16:creationId xmlns:a16="http://schemas.microsoft.com/office/drawing/2014/main" id="{466C3108-2271-4849-AC8B-AE3CAA394027}"/>
              </a:ext>
            </a:extLst>
          </p:cNvPr>
          <p:cNvSpPr>
            <a:spLocks noGrp="1"/>
          </p:cNvSpPr>
          <p:nvPr>
            <p:ph type="body" sz="quarter" idx="10" hasCustomPrompt="1"/>
          </p:nvPr>
        </p:nvSpPr>
        <p:spPr>
          <a:xfrm>
            <a:off x="755600" y="2653748"/>
            <a:ext cx="1395941" cy="561942"/>
          </a:xfrm>
        </p:spPr>
        <p:txBody>
          <a:bodyPr anchor="ctr" anchorCtr="0"/>
          <a:lstStyle>
            <a:lvl1pPr>
              <a:defRPr sz="5500" b="0" i="0">
                <a:solidFill>
                  <a:schemeClr val="bg1"/>
                </a:solidFill>
                <a:latin typeface="Elevance Sans Medium" pitchFamily="2" charset="0"/>
              </a:defRPr>
            </a:lvl1pPr>
          </a:lstStyle>
          <a:p>
            <a:pPr lvl="0"/>
            <a:r>
              <a:rPr lang="en-US" dirty="0"/>
              <a:t>XX</a:t>
            </a:r>
          </a:p>
        </p:txBody>
      </p:sp>
      <p:sp>
        <p:nvSpPr>
          <p:cNvPr id="49" name="Text Placeholder 16">
            <a:extLst>
              <a:ext uri="{FF2B5EF4-FFF2-40B4-BE49-F238E27FC236}">
                <a16:creationId xmlns:a16="http://schemas.microsoft.com/office/drawing/2014/main" id="{D5A9143D-7150-AC42-B40F-D5C4B2E4E85B}"/>
              </a:ext>
            </a:extLst>
          </p:cNvPr>
          <p:cNvSpPr>
            <a:spLocks noGrp="1"/>
          </p:cNvSpPr>
          <p:nvPr>
            <p:ph type="body" sz="quarter" idx="32" hasCustomPrompt="1"/>
          </p:nvPr>
        </p:nvSpPr>
        <p:spPr>
          <a:xfrm>
            <a:off x="755600" y="3513481"/>
            <a:ext cx="1395941" cy="561942"/>
          </a:xfrm>
        </p:spPr>
        <p:txBody>
          <a:bodyPr anchor="ctr" anchorCtr="0"/>
          <a:lstStyle>
            <a:lvl1pPr>
              <a:defRPr sz="5500" b="0" i="0">
                <a:solidFill>
                  <a:schemeClr val="bg1"/>
                </a:solidFill>
                <a:latin typeface="Elevance Sans Medium" pitchFamily="2" charset="0"/>
              </a:defRPr>
            </a:lvl1pPr>
          </a:lstStyle>
          <a:p>
            <a:pPr lvl="0"/>
            <a:r>
              <a:rPr lang="en-US" dirty="0"/>
              <a:t>XX</a:t>
            </a:r>
          </a:p>
        </p:txBody>
      </p:sp>
      <p:sp>
        <p:nvSpPr>
          <p:cNvPr id="50" name="Text Placeholder 16">
            <a:extLst>
              <a:ext uri="{FF2B5EF4-FFF2-40B4-BE49-F238E27FC236}">
                <a16:creationId xmlns:a16="http://schemas.microsoft.com/office/drawing/2014/main" id="{7DA7978D-E906-C942-B91D-81151851337D}"/>
              </a:ext>
            </a:extLst>
          </p:cNvPr>
          <p:cNvSpPr>
            <a:spLocks noGrp="1"/>
          </p:cNvSpPr>
          <p:nvPr>
            <p:ph type="body" sz="quarter" idx="33" hasCustomPrompt="1"/>
          </p:nvPr>
        </p:nvSpPr>
        <p:spPr>
          <a:xfrm>
            <a:off x="755600" y="4373214"/>
            <a:ext cx="1395941" cy="561942"/>
          </a:xfrm>
        </p:spPr>
        <p:txBody>
          <a:bodyPr anchor="ctr" anchorCtr="0"/>
          <a:lstStyle>
            <a:lvl1pPr>
              <a:defRPr sz="5500" b="0" i="0">
                <a:solidFill>
                  <a:schemeClr val="bg1"/>
                </a:solidFill>
                <a:latin typeface="Elevance Sans Medium" pitchFamily="2" charset="0"/>
              </a:defRPr>
            </a:lvl1pPr>
          </a:lstStyle>
          <a:p>
            <a:pPr lvl="0"/>
            <a:r>
              <a:rPr lang="en-US" dirty="0"/>
              <a:t>XX</a:t>
            </a:r>
          </a:p>
        </p:txBody>
      </p:sp>
      <p:sp>
        <p:nvSpPr>
          <p:cNvPr id="2" name="Text Placeholder 3">
            <a:extLst>
              <a:ext uri="{FF2B5EF4-FFF2-40B4-BE49-F238E27FC236}">
                <a16:creationId xmlns:a16="http://schemas.microsoft.com/office/drawing/2014/main" id="{7664B9BD-E1FB-3841-D842-75CC9E6088A8}"/>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6897693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Purple">
    <p:bg>
      <p:bgPr>
        <a:solidFill>
          <a:srgbClr val="5009B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6" name="TextBox 5">
            <a:extLst>
              <a:ext uri="{FF2B5EF4-FFF2-40B4-BE49-F238E27FC236}">
                <a16:creationId xmlns:a16="http://schemas.microsoft.com/office/drawing/2014/main" id="{4E4AA359-29EA-5F4F-BDCD-44D77DDDBA39}"/>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732D85FF-C9D8-F24D-9CA2-21283ABF1C5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99" y="6181343"/>
            <a:ext cx="365760" cy="365760"/>
          </a:xfrm>
          <a:prstGeom prst="rect">
            <a:avLst/>
          </a:prstGeom>
        </p:spPr>
      </p:pic>
      <p:sp>
        <p:nvSpPr>
          <p:cNvPr id="2" name="Text Placeholder 3">
            <a:extLst>
              <a:ext uri="{FF2B5EF4-FFF2-40B4-BE49-F238E27FC236}">
                <a16:creationId xmlns:a16="http://schemas.microsoft.com/office/drawing/2014/main" id="{77A41EE8-D2CB-0DB8-13CF-B75EBF63E34A}"/>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659090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Linear Supergraphic">
    <p:spTree>
      <p:nvGrpSpPr>
        <p:cNvPr id="1" name=""/>
        <p:cNvGrpSpPr/>
        <p:nvPr/>
      </p:nvGrpSpPr>
      <p:grpSpPr>
        <a:xfrm>
          <a:off x="0" y="0"/>
          <a:ext cx="0" cy="0"/>
          <a:chOff x="0" y="0"/>
          <a:chExt cx="0" cy="0"/>
        </a:xfrm>
      </p:grpSpPr>
      <p:sp>
        <p:nvSpPr>
          <p:cNvPr id="7" name="Arc 6">
            <a:extLst>
              <a:ext uri="{FF2B5EF4-FFF2-40B4-BE49-F238E27FC236}">
                <a16:creationId xmlns:a16="http://schemas.microsoft.com/office/drawing/2014/main" id="{FE20D0F9-50E8-FC44-9957-5927A5C28D74}"/>
              </a:ext>
            </a:extLst>
          </p:cNvPr>
          <p:cNvSpPr/>
          <p:nvPr/>
        </p:nvSpPr>
        <p:spPr>
          <a:xfrm rot="10800000">
            <a:off x="7700406" y="-5517141"/>
            <a:ext cx="8983187" cy="8983187"/>
          </a:xfrm>
          <a:prstGeom prst="arc">
            <a:avLst>
              <a:gd name="adj1" fmla="val 16200000"/>
              <a:gd name="adj2" fmla="val 2083408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2983117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15088" y="1503979"/>
            <a:ext cx="8349500" cy="1567689"/>
          </a:xfrm>
        </p:spPr>
        <p:txBody>
          <a:bodyPr vert="horz" anchor="b" anchorCtr="0"/>
          <a:lstStyle>
            <a:lvl1pPr algn="l">
              <a:defRPr sz="5200">
                <a:solidFill>
                  <a:schemeClr val="tx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15088" y="4517136"/>
            <a:ext cx="5638800" cy="228600"/>
          </a:xfrm>
        </p:spPr>
        <p:txBody>
          <a:bodyPr/>
          <a:lstStyle>
            <a:lvl1pPr marL="0" indent="0" algn="l">
              <a:buNone/>
              <a:defRPr sz="18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cxnSp>
        <p:nvCxnSpPr>
          <p:cNvPr id="5" name="Straight Connector 4">
            <a:extLst>
              <a:ext uri="{FF2B5EF4-FFF2-40B4-BE49-F238E27FC236}">
                <a16:creationId xmlns:a16="http://schemas.microsoft.com/office/drawing/2014/main" id="{48F072A8-8335-584F-BE52-8FBA3F06E93A}"/>
              </a:ext>
            </a:extLst>
          </p:cNvPr>
          <p:cNvCxnSpPr>
            <a:cxnSpLocks/>
          </p:cNvCxnSpPr>
          <p:nvPr/>
        </p:nvCxnSpPr>
        <p:spPr>
          <a:xfrm>
            <a:off x="0" y="3466047"/>
            <a:ext cx="12192000" cy="0"/>
          </a:xfrm>
          <a:prstGeom prst="line">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0" name="Arc 9">
            <a:extLst>
              <a:ext uri="{FF2B5EF4-FFF2-40B4-BE49-F238E27FC236}">
                <a16:creationId xmlns:a16="http://schemas.microsoft.com/office/drawing/2014/main" id="{336C828C-5FD5-5842-8A7F-FCDE3E492A7E}"/>
              </a:ext>
            </a:extLst>
          </p:cNvPr>
          <p:cNvSpPr/>
          <p:nvPr/>
        </p:nvSpPr>
        <p:spPr>
          <a:xfrm rot="16200000">
            <a:off x="7700406" y="3466048"/>
            <a:ext cx="8983187" cy="8983187"/>
          </a:xfrm>
          <a:prstGeom prst="arc">
            <a:avLst>
              <a:gd name="adj1" fmla="val 17028583"/>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9" name="Text Placeholder 11">
            <a:extLst>
              <a:ext uri="{FF2B5EF4-FFF2-40B4-BE49-F238E27FC236}">
                <a16:creationId xmlns:a16="http://schemas.microsoft.com/office/drawing/2014/main" id="{7DD3FC0C-5E28-CC45-ACF0-E5E428993029}"/>
              </a:ext>
            </a:extLst>
          </p:cNvPr>
          <p:cNvSpPr>
            <a:spLocks noGrp="1"/>
          </p:cNvSpPr>
          <p:nvPr>
            <p:ph type="body" sz="quarter" idx="11" hasCustomPrompt="1"/>
          </p:nvPr>
        </p:nvSpPr>
        <p:spPr>
          <a:xfrm>
            <a:off x="415088" y="4758997"/>
            <a:ext cx="5638800" cy="224536"/>
          </a:xfrm>
        </p:spPr>
        <p:txBody>
          <a:bodyPr/>
          <a:lstStyle>
            <a:lvl1pPr marL="0" indent="0">
              <a:lnSpc>
                <a:spcPct val="100000"/>
              </a:lnSpc>
              <a:buNone/>
              <a:defRPr sz="1800" b="0" i="0">
                <a:latin typeface="+mn-lt"/>
              </a:defRPr>
            </a:lvl1pPr>
          </a:lstStyle>
          <a:p>
            <a:pPr lvl="0"/>
            <a:r>
              <a:rPr lang="en-US" dirty="0"/>
              <a:t>Click to add date</a:t>
            </a:r>
          </a:p>
        </p:txBody>
      </p:sp>
      <p:pic>
        <p:nvPicPr>
          <p:cNvPr id="11" name="Graphic 10">
            <a:extLst>
              <a:ext uri="{FF2B5EF4-FFF2-40B4-BE49-F238E27FC236}">
                <a16:creationId xmlns:a16="http://schemas.microsoft.com/office/drawing/2014/main" id="{8601F0BF-5A2B-B680-F581-8792F532A6AA}"/>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3341" y="578424"/>
            <a:ext cx="1785575" cy="384339"/>
          </a:xfrm>
          <a:prstGeom prst="rect">
            <a:avLst/>
          </a:prstGeom>
        </p:spPr>
      </p:pic>
    </p:spTree>
    <p:extLst>
      <p:ext uri="{BB962C8B-B14F-4D97-AF65-F5344CB8AC3E}">
        <p14:creationId xmlns:p14="http://schemas.microsoft.com/office/powerpoint/2010/main" val="26418031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nly Dark Purple">
    <p:bg>
      <p:bgPr>
        <a:solidFill>
          <a:srgbClr val="2B1B49"/>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6" name="TextBox 5">
            <a:extLst>
              <a:ext uri="{FF2B5EF4-FFF2-40B4-BE49-F238E27FC236}">
                <a16:creationId xmlns:a16="http://schemas.microsoft.com/office/drawing/2014/main" id="{4E4AA359-29EA-5F4F-BDCD-44D77DDDBA39}"/>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732D85FF-C9D8-F24D-9CA2-21283ABF1C5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99" y="6181343"/>
            <a:ext cx="365760" cy="365760"/>
          </a:xfrm>
          <a:prstGeom prst="rect">
            <a:avLst/>
          </a:prstGeom>
        </p:spPr>
      </p:pic>
      <p:sp>
        <p:nvSpPr>
          <p:cNvPr id="2" name="Text Placeholder 3">
            <a:extLst>
              <a:ext uri="{FF2B5EF4-FFF2-40B4-BE49-F238E27FC236}">
                <a16:creationId xmlns:a16="http://schemas.microsoft.com/office/drawing/2014/main" id="{F7A1AA02-6FCC-5AD9-5743-47F41F4C42D7}"/>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0159387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hasCustomPrompt="1"/>
          </p:nvPr>
        </p:nvSpPr>
        <p:spPr>
          <a:xfrm>
            <a:off x="457199" y="1691640"/>
            <a:ext cx="2651125" cy="4315460"/>
          </a:xfrm>
        </p:spPr>
        <p:txBody>
          <a:bodyPr/>
          <a:lstStyle>
            <a:lvl1pPr marL="0" indent="0">
              <a:lnSpc>
                <a:spcPct val="120000"/>
              </a:lnSpc>
              <a:buNone/>
              <a:defRPr sz="1400">
                <a:latin typeface="+mn-lt"/>
              </a:defRPr>
            </a:lvl1pPr>
          </a:lstStyle>
          <a:p>
            <a:pPr lvl="0"/>
            <a:r>
              <a:rPr lang="en-US" dirty="0"/>
              <a:t>Click to edit master text styles</a:t>
            </a:r>
          </a:p>
        </p:txBody>
      </p:sp>
      <p:sp>
        <p:nvSpPr>
          <p:cNvPr id="15" name="Table Placeholder 14">
            <a:extLst>
              <a:ext uri="{FF2B5EF4-FFF2-40B4-BE49-F238E27FC236}">
                <a16:creationId xmlns:a16="http://schemas.microsoft.com/office/drawing/2014/main" id="{A26E02A6-FCD4-2349-A224-1CAE40B3C672}"/>
              </a:ext>
            </a:extLst>
          </p:cNvPr>
          <p:cNvSpPr>
            <a:spLocks noGrp="1"/>
          </p:cNvSpPr>
          <p:nvPr>
            <p:ph type="tbl" sz="quarter" idx="12"/>
          </p:nvPr>
        </p:nvSpPr>
        <p:spPr>
          <a:xfrm>
            <a:off x="3336925" y="1691641"/>
            <a:ext cx="8397875" cy="4315460"/>
          </a:xfrm>
        </p:spPr>
        <p:txBody>
          <a:bodyPr/>
          <a:lstStyle>
            <a:lvl1pPr marL="0" indent="0">
              <a:buNone/>
              <a:defRPr sz="1400">
                <a:latin typeface="+mn-lt"/>
              </a:defRPr>
            </a:lvl1pPr>
          </a:lstStyle>
          <a:p>
            <a:r>
              <a:rPr lang="en-US"/>
              <a:t>Click icon to add table</a:t>
            </a:r>
            <a:endParaRPr lang="en-US" dirty="0"/>
          </a:p>
        </p:txBody>
      </p:sp>
      <p:sp>
        <p:nvSpPr>
          <p:cNvPr id="3" name="Title 2">
            <a:extLst>
              <a:ext uri="{FF2B5EF4-FFF2-40B4-BE49-F238E27FC236}">
                <a16:creationId xmlns:a16="http://schemas.microsoft.com/office/drawing/2014/main" id="{323086E9-DD46-BF44-9FB9-ECD66EB7820F}"/>
              </a:ext>
            </a:extLst>
          </p:cNvPr>
          <p:cNvSpPr>
            <a:spLocks noGrp="1"/>
          </p:cNvSpPr>
          <p:nvPr>
            <p:ph type="title" hasCustomPrompt="1"/>
          </p:nvPr>
        </p:nvSpPr>
        <p:spPr/>
        <p:txBody>
          <a:bodyPr/>
          <a:lstStyle/>
          <a:p>
            <a:r>
              <a:rPr lang="en-US" dirty="0"/>
              <a:t>Click to edit master title style</a:t>
            </a:r>
          </a:p>
        </p:txBody>
      </p:sp>
      <p:sp>
        <p:nvSpPr>
          <p:cNvPr id="2" name="Text Placeholder 3">
            <a:extLst>
              <a:ext uri="{FF2B5EF4-FFF2-40B4-BE49-F238E27FC236}">
                <a16:creationId xmlns:a16="http://schemas.microsoft.com/office/drawing/2014/main" id="{94A5B7E9-93DD-EBEC-8047-430B925099A9}"/>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4848555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7D5DD003-2D12-2F45-9B83-4D1AB24244E5}"/>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2582352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hasCustomPrompt="1"/>
          </p:nvPr>
        </p:nvSpPr>
        <p:spPr>
          <a:xfrm>
            <a:off x="457200" y="1691640"/>
            <a:ext cx="2651124" cy="4315460"/>
          </a:xfrm>
        </p:spPr>
        <p:txBody>
          <a:bodyPr/>
          <a:lstStyle>
            <a:lvl1pPr marL="0" indent="0">
              <a:lnSpc>
                <a:spcPct val="120000"/>
              </a:lnSpc>
              <a:buNone/>
              <a:defRPr sz="1400">
                <a:latin typeface="+mn-lt"/>
              </a:defRPr>
            </a:lvl1pPr>
          </a:lstStyle>
          <a:p>
            <a:pPr lvl="0"/>
            <a:r>
              <a:rPr lang="en-US" dirty="0"/>
              <a:t>Click to edit master text styles</a:t>
            </a:r>
          </a:p>
        </p:txBody>
      </p:sp>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3336925" y="0"/>
            <a:ext cx="8855075"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3" name="Title 2">
            <a:extLst>
              <a:ext uri="{FF2B5EF4-FFF2-40B4-BE49-F238E27FC236}">
                <a16:creationId xmlns:a16="http://schemas.microsoft.com/office/drawing/2014/main" id="{4D84F6E5-E352-B74C-8251-2905A2D26949}"/>
              </a:ext>
            </a:extLst>
          </p:cNvPr>
          <p:cNvSpPr>
            <a:spLocks noGrp="1"/>
          </p:cNvSpPr>
          <p:nvPr>
            <p:ph type="title" hasCustomPrompt="1"/>
          </p:nvPr>
        </p:nvSpPr>
        <p:spPr>
          <a:xfrm>
            <a:off x="457199" y="384048"/>
            <a:ext cx="2651125" cy="822960"/>
          </a:xfrm>
        </p:spPr>
        <p:txBody>
          <a:bodyPr/>
          <a:lstStyle/>
          <a:p>
            <a:r>
              <a:rPr lang="en-US" dirty="0"/>
              <a:t>Click to add title</a:t>
            </a:r>
          </a:p>
        </p:txBody>
      </p:sp>
      <p:sp>
        <p:nvSpPr>
          <p:cNvPr id="7" name="Text Placeholder 3">
            <a:extLst>
              <a:ext uri="{FF2B5EF4-FFF2-40B4-BE49-F238E27FC236}">
                <a16:creationId xmlns:a16="http://schemas.microsoft.com/office/drawing/2014/main" id="{7EAA3626-B192-7954-2795-53FA1BDAEF44}"/>
              </a:ext>
            </a:extLst>
          </p:cNvPr>
          <p:cNvSpPr>
            <a:spLocks noGrp="1"/>
          </p:cNvSpPr>
          <p:nvPr>
            <p:ph type="body" sz="half" idx="12" hasCustomPrompt="1"/>
          </p:nvPr>
        </p:nvSpPr>
        <p:spPr>
          <a:xfrm>
            <a:off x="11355660" y="6426199"/>
            <a:ext cx="379141" cy="146380"/>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fld id="{DB91F917-4553-0B4C-86D1-30F17B222285}" type="slidenum">
              <a:rPr lang="en-US" smtClean="0"/>
              <a:t>‹#›</a:t>
            </a:fld>
            <a:endParaRPr lang="en-US" dirty="0"/>
          </a:p>
        </p:txBody>
      </p:sp>
      <p:sp>
        <p:nvSpPr>
          <p:cNvPr id="2" name="Text Placeholder 3">
            <a:extLst>
              <a:ext uri="{FF2B5EF4-FFF2-40B4-BE49-F238E27FC236}">
                <a16:creationId xmlns:a16="http://schemas.microsoft.com/office/drawing/2014/main" id="{F3E3E8D6-8C19-7B6D-01C9-AF1B7B54E9EB}"/>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166546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2723071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6096000" y="0"/>
            <a:ext cx="6096000"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3" name="Title 2">
            <a:extLst>
              <a:ext uri="{FF2B5EF4-FFF2-40B4-BE49-F238E27FC236}">
                <a16:creationId xmlns:a16="http://schemas.microsoft.com/office/drawing/2014/main" id="{F0D6646E-C578-A14A-A853-62114E9D76C2}"/>
              </a:ext>
            </a:extLst>
          </p:cNvPr>
          <p:cNvSpPr>
            <a:spLocks noGrp="1"/>
          </p:cNvSpPr>
          <p:nvPr>
            <p:ph type="title" hasCustomPrompt="1"/>
          </p:nvPr>
        </p:nvSpPr>
        <p:spPr>
          <a:xfrm>
            <a:off x="457200" y="384048"/>
            <a:ext cx="5334000" cy="822960"/>
          </a:xfrm>
        </p:spPr>
        <p:txBody>
          <a:bodyPr/>
          <a:lstStyle/>
          <a:p>
            <a:r>
              <a:rPr lang="en-US" dirty="0"/>
              <a:t>Click to add title</a:t>
            </a:r>
          </a:p>
        </p:txBody>
      </p:sp>
      <p:sp>
        <p:nvSpPr>
          <p:cNvPr id="4" name="Text Placeholder 3">
            <a:extLst>
              <a:ext uri="{FF2B5EF4-FFF2-40B4-BE49-F238E27FC236}">
                <a16:creationId xmlns:a16="http://schemas.microsoft.com/office/drawing/2014/main" id="{39E43737-9BA8-28F9-9B37-28D9385536F1}"/>
              </a:ext>
            </a:extLst>
          </p:cNvPr>
          <p:cNvSpPr>
            <a:spLocks noGrp="1"/>
          </p:cNvSpPr>
          <p:nvPr>
            <p:ph type="body" sz="quarter" idx="15"/>
          </p:nvPr>
        </p:nvSpPr>
        <p:spPr>
          <a:xfrm>
            <a:off x="457200" y="1691640"/>
            <a:ext cx="5334000" cy="4315460"/>
          </a:xfrm>
        </p:spPr>
        <p:txBody>
          <a:bodyPr/>
          <a:lstStyle>
            <a:lvl1pPr>
              <a:lnSpc>
                <a:spcPct val="120000"/>
              </a:lnSpc>
              <a:spcBef>
                <a:spcPts val="1600"/>
              </a:spcBef>
              <a:defRPr sz="1600">
                <a:latin typeface="+mn-lt"/>
              </a:defRPr>
            </a:lvl1pPr>
            <a:lvl2pPr marL="293688" indent="-293688">
              <a:lnSpc>
                <a:spcPct val="120000"/>
              </a:lnSpc>
              <a:spcBef>
                <a:spcPts val="1600"/>
              </a:spcBef>
              <a:buFont typeface="Elevance Sans" pitchFamily="2" charset="0"/>
              <a:buChar char="•"/>
              <a:tabLst/>
              <a:defRPr sz="1600">
                <a:latin typeface="+mn-lt"/>
              </a:defRPr>
            </a:lvl2pPr>
            <a:lvl3pPr marL="9525" indent="0">
              <a:buNone/>
              <a:defRPr/>
            </a:lvl3pPr>
          </a:lstStyle>
          <a:p>
            <a:pPr lvl="0"/>
            <a:r>
              <a:rPr lang="en-US"/>
              <a:t>Click to edit Master text styles</a:t>
            </a:r>
          </a:p>
          <a:p>
            <a:pPr lvl="1"/>
            <a:r>
              <a:rPr lang="en-US"/>
              <a:t>Second level</a:t>
            </a:r>
          </a:p>
        </p:txBody>
      </p:sp>
      <p:sp>
        <p:nvSpPr>
          <p:cNvPr id="10" name="Text Placeholder 3">
            <a:extLst>
              <a:ext uri="{FF2B5EF4-FFF2-40B4-BE49-F238E27FC236}">
                <a16:creationId xmlns:a16="http://schemas.microsoft.com/office/drawing/2014/main" id="{50FE2A77-52B0-0002-3E44-F3A5C0195718}"/>
              </a:ext>
            </a:extLst>
          </p:cNvPr>
          <p:cNvSpPr>
            <a:spLocks noGrp="1"/>
          </p:cNvSpPr>
          <p:nvPr>
            <p:ph type="body" sz="half" idx="12" hasCustomPrompt="1"/>
          </p:nvPr>
        </p:nvSpPr>
        <p:spPr>
          <a:xfrm>
            <a:off x="11355660" y="6426199"/>
            <a:ext cx="379141" cy="146380"/>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fld id="{F3D65CF3-2F65-3542-86CF-6454B72998A1}" type="slidenum">
              <a:rPr lang="en-US" smtClean="0"/>
              <a:t>‹#›</a:t>
            </a:fld>
            <a:endParaRPr lang="en-US" dirty="0"/>
          </a:p>
        </p:txBody>
      </p:sp>
      <p:sp>
        <p:nvSpPr>
          <p:cNvPr id="2" name="Text Placeholder 3">
            <a:extLst>
              <a:ext uri="{FF2B5EF4-FFF2-40B4-BE49-F238E27FC236}">
                <a16:creationId xmlns:a16="http://schemas.microsoft.com/office/drawing/2014/main" id="{213A43A4-8673-66F4-30D4-0C9F16EB6E9D}"/>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7421917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s Three ico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481F15-58C8-BB47-847B-AFEF12FCE234}"/>
              </a:ext>
            </a:extLst>
          </p:cNvPr>
          <p:cNvSpPr/>
          <p:nvPr userDrawn="1"/>
        </p:nvSpPr>
        <p:spPr>
          <a:xfrm>
            <a:off x="6096000" y="0"/>
            <a:ext cx="6096000" cy="6858000"/>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Picture Placeholder 22">
            <a:extLst>
              <a:ext uri="{FF2B5EF4-FFF2-40B4-BE49-F238E27FC236}">
                <a16:creationId xmlns:a16="http://schemas.microsoft.com/office/drawing/2014/main" id="{C7E88C62-B078-D543-A31B-4986E3330988}"/>
              </a:ext>
            </a:extLst>
          </p:cNvPr>
          <p:cNvSpPr>
            <a:spLocks noGrp="1"/>
          </p:cNvSpPr>
          <p:nvPr>
            <p:ph type="pic" sz="quarter" idx="19" hasCustomPrompt="1"/>
          </p:nvPr>
        </p:nvSpPr>
        <p:spPr>
          <a:xfrm>
            <a:off x="6665120" y="2346325"/>
            <a:ext cx="731837" cy="731276"/>
          </a:xfrm>
        </p:spPr>
        <p:txBody>
          <a:bodyPr/>
          <a:lstStyle>
            <a:lvl1pPr algn="ctr">
              <a:defRPr sz="1000">
                <a:solidFill>
                  <a:schemeClr val="tx2"/>
                </a:solidFill>
              </a:defRPr>
            </a:lvl1pPr>
          </a:lstStyle>
          <a:p>
            <a:r>
              <a:rPr lang="en-US" dirty="0"/>
              <a:t>icon</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4048"/>
            <a:ext cx="5334000" cy="822960"/>
          </a:xfrm>
        </p:spPr>
        <p:txBody>
          <a:bodyPr/>
          <a:lstStyle/>
          <a:p>
            <a:r>
              <a:rPr lang="en-US" dirty="0"/>
              <a:t>Click to add title</a:t>
            </a:r>
          </a:p>
        </p:txBody>
      </p:sp>
      <p:sp>
        <p:nvSpPr>
          <p:cNvPr id="16" name="TextBox 15">
            <a:extLst>
              <a:ext uri="{FF2B5EF4-FFF2-40B4-BE49-F238E27FC236}">
                <a16:creationId xmlns:a16="http://schemas.microsoft.com/office/drawing/2014/main" id="{AD9F5B07-CC0C-8242-81AD-1C0EB2CDA362}"/>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6" name="Text Placeholder 5">
            <a:extLst>
              <a:ext uri="{FF2B5EF4-FFF2-40B4-BE49-F238E27FC236}">
                <a16:creationId xmlns:a16="http://schemas.microsoft.com/office/drawing/2014/main" id="{408DCCDA-24C3-CC42-9EEC-7C84C2FB8571}"/>
              </a:ext>
            </a:extLst>
          </p:cNvPr>
          <p:cNvSpPr>
            <a:spLocks noGrp="1"/>
          </p:cNvSpPr>
          <p:nvPr>
            <p:ph type="body" sz="quarter" idx="15"/>
          </p:nvPr>
        </p:nvSpPr>
        <p:spPr>
          <a:xfrm>
            <a:off x="6773863" y="1691640"/>
            <a:ext cx="4249737" cy="316103"/>
          </a:xfrm>
        </p:spPr>
        <p:txBody>
          <a:bodyPr/>
          <a:lstStyle>
            <a:lvl1pPr>
              <a:lnSpc>
                <a:spcPct val="120000"/>
              </a:lnSpc>
              <a:defRPr sz="1600"/>
            </a:lvl1pPr>
          </a:lstStyle>
          <a:p>
            <a:pPr lvl="0"/>
            <a:r>
              <a:rPr lang="en-US"/>
              <a:t>Click to edit Master text styles</a:t>
            </a:r>
          </a:p>
        </p:txBody>
      </p:sp>
      <p:sp>
        <p:nvSpPr>
          <p:cNvPr id="19" name="Text Placeholder 18">
            <a:extLst>
              <a:ext uri="{FF2B5EF4-FFF2-40B4-BE49-F238E27FC236}">
                <a16:creationId xmlns:a16="http://schemas.microsoft.com/office/drawing/2014/main" id="{2628AA8C-3AA3-804C-BAC2-938EE013A99D}"/>
              </a:ext>
            </a:extLst>
          </p:cNvPr>
          <p:cNvSpPr>
            <a:spLocks noGrp="1"/>
          </p:cNvSpPr>
          <p:nvPr>
            <p:ph type="body" sz="quarter" idx="16"/>
          </p:nvPr>
        </p:nvSpPr>
        <p:spPr>
          <a:xfrm>
            <a:off x="7915275" y="2354336"/>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0" name="Text Placeholder 18">
            <a:extLst>
              <a:ext uri="{FF2B5EF4-FFF2-40B4-BE49-F238E27FC236}">
                <a16:creationId xmlns:a16="http://schemas.microsoft.com/office/drawing/2014/main" id="{60BE6EBB-EB34-2242-AEBC-48C5BF2653DE}"/>
              </a:ext>
            </a:extLst>
          </p:cNvPr>
          <p:cNvSpPr>
            <a:spLocks noGrp="1"/>
          </p:cNvSpPr>
          <p:nvPr>
            <p:ph type="body" sz="quarter" idx="17"/>
          </p:nvPr>
        </p:nvSpPr>
        <p:spPr>
          <a:xfrm>
            <a:off x="7915275" y="3736210"/>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1" name="Text Placeholder 18">
            <a:extLst>
              <a:ext uri="{FF2B5EF4-FFF2-40B4-BE49-F238E27FC236}">
                <a16:creationId xmlns:a16="http://schemas.microsoft.com/office/drawing/2014/main" id="{62787009-1D09-0143-B730-093388290FEE}"/>
              </a:ext>
            </a:extLst>
          </p:cNvPr>
          <p:cNvSpPr>
            <a:spLocks noGrp="1"/>
          </p:cNvSpPr>
          <p:nvPr>
            <p:ph type="body" sz="quarter" idx="18"/>
          </p:nvPr>
        </p:nvSpPr>
        <p:spPr>
          <a:xfrm>
            <a:off x="7915275" y="5118084"/>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4" name="Picture Placeholder 22">
            <a:extLst>
              <a:ext uri="{FF2B5EF4-FFF2-40B4-BE49-F238E27FC236}">
                <a16:creationId xmlns:a16="http://schemas.microsoft.com/office/drawing/2014/main" id="{926707BB-0CF8-D742-A1DA-677AC916C15E}"/>
              </a:ext>
            </a:extLst>
          </p:cNvPr>
          <p:cNvSpPr>
            <a:spLocks noGrp="1"/>
          </p:cNvSpPr>
          <p:nvPr>
            <p:ph type="pic" sz="quarter" idx="20" hasCustomPrompt="1"/>
          </p:nvPr>
        </p:nvSpPr>
        <p:spPr>
          <a:xfrm>
            <a:off x="6665120" y="3736210"/>
            <a:ext cx="731837" cy="731276"/>
          </a:xfrm>
        </p:spPr>
        <p:txBody>
          <a:bodyPr/>
          <a:lstStyle>
            <a:lvl1pPr algn="ctr">
              <a:defRPr sz="1000">
                <a:solidFill>
                  <a:schemeClr val="tx2"/>
                </a:solidFill>
              </a:defRPr>
            </a:lvl1pPr>
          </a:lstStyle>
          <a:p>
            <a:r>
              <a:rPr lang="en-US" dirty="0"/>
              <a:t>icon</a:t>
            </a:r>
          </a:p>
        </p:txBody>
      </p:sp>
      <p:sp>
        <p:nvSpPr>
          <p:cNvPr id="25" name="Picture Placeholder 22">
            <a:extLst>
              <a:ext uri="{FF2B5EF4-FFF2-40B4-BE49-F238E27FC236}">
                <a16:creationId xmlns:a16="http://schemas.microsoft.com/office/drawing/2014/main" id="{F2140207-71CD-1744-B834-6438BAD46B26}"/>
              </a:ext>
            </a:extLst>
          </p:cNvPr>
          <p:cNvSpPr>
            <a:spLocks noGrp="1"/>
          </p:cNvSpPr>
          <p:nvPr>
            <p:ph type="pic" sz="quarter" idx="21" hasCustomPrompt="1"/>
          </p:nvPr>
        </p:nvSpPr>
        <p:spPr>
          <a:xfrm>
            <a:off x="6665120" y="5118084"/>
            <a:ext cx="731837" cy="731276"/>
          </a:xfrm>
        </p:spPr>
        <p:txBody>
          <a:bodyPr/>
          <a:lstStyle>
            <a:lvl1pPr algn="ctr">
              <a:defRPr sz="1000">
                <a:solidFill>
                  <a:schemeClr val="tx2"/>
                </a:solidFill>
              </a:defRPr>
            </a:lvl1pPr>
          </a:lstStyle>
          <a:p>
            <a:r>
              <a:rPr lang="en-US" dirty="0"/>
              <a:t>icon</a:t>
            </a:r>
          </a:p>
        </p:txBody>
      </p:sp>
      <p:sp>
        <p:nvSpPr>
          <p:cNvPr id="5" name="Text Placeholder 4">
            <a:extLst>
              <a:ext uri="{FF2B5EF4-FFF2-40B4-BE49-F238E27FC236}">
                <a16:creationId xmlns:a16="http://schemas.microsoft.com/office/drawing/2014/main" id="{0E2F481A-950D-FAC1-C471-F344B373ED4C}"/>
              </a:ext>
            </a:extLst>
          </p:cNvPr>
          <p:cNvSpPr>
            <a:spLocks noGrp="1"/>
          </p:cNvSpPr>
          <p:nvPr>
            <p:ph type="body" sz="quarter" idx="23"/>
          </p:nvPr>
        </p:nvSpPr>
        <p:spPr>
          <a:xfrm>
            <a:off x="457200" y="1691640"/>
            <a:ext cx="5435600" cy="4315460"/>
          </a:xfrm>
        </p:spPr>
        <p:txBody>
          <a:bodyPr/>
          <a:lstStyle>
            <a:lvl1pPr>
              <a:lnSpc>
                <a:spcPct val="120000"/>
              </a:lnSpc>
              <a:spcBef>
                <a:spcPts val="1600"/>
              </a:spcBef>
              <a:defRPr sz="1600"/>
            </a:lvl1pPr>
            <a:lvl2pPr>
              <a:lnSpc>
                <a:spcPct val="120000"/>
              </a:lnSpc>
              <a:spcBef>
                <a:spcPts val="1600"/>
              </a:spcBef>
              <a:defRPr sz="1600"/>
            </a:lvl2pPr>
            <a:lvl3pPr>
              <a:lnSpc>
                <a:spcPct val="120000"/>
              </a:lnSpc>
              <a:spcBef>
                <a:spcPts val="1600"/>
              </a:spcBef>
              <a:defRPr sz="1600"/>
            </a:lvl3pPr>
            <a:lvl4pPr>
              <a:lnSpc>
                <a:spcPct val="120000"/>
              </a:lnSpc>
              <a:spcBef>
                <a:spcPts val="1600"/>
              </a:spcBef>
              <a:defRPr sz="1600"/>
            </a:lvl4pPr>
            <a:lvl5pPr>
              <a:lnSpc>
                <a:spcPct val="120000"/>
              </a:lnSpc>
              <a:spcBef>
                <a:spcPts val="1600"/>
              </a:spcBef>
              <a:defRPr sz="1600"/>
            </a:lvl5pPr>
            <a:lvl6pPr>
              <a:lnSpc>
                <a:spcPct val="120000"/>
              </a:lnSpc>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Placeholder 3">
            <a:extLst>
              <a:ext uri="{FF2B5EF4-FFF2-40B4-BE49-F238E27FC236}">
                <a16:creationId xmlns:a16="http://schemas.microsoft.com/office/drawing/2014/main" id="{9B93E84A-0E0A-3D5F-F857-E1E2A1E3BC53}"/>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9934940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wo Column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481F15-58C8-BB47-847B-AFEF12FCE234}"/>
              </a:ext>
            </a:extLst>
          </p:cNvPr>
          <p:cNvSpPr/>
          <p:nvPr userDrawn="1"/>
        </p:nvSpPr>
        <p:spPr>
          <a:xfrm>
            <a:off x="6096000" y="0"/>
            <a:ext cx="6096000" cy="6858000"/>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4048"/>
            <a:ext cx="5334000" cy="822960"/>
          </a:xfrm>
        </p:spPr>
        <p:txBody>
          <a:bodyPr/>
          <a:lstStyle/>
          <a:p>
            <a:r>
              <a:rPr lang="en-US" dirty="0"/>
              <a:t>Click to add title</a:t>
            </a:r>
          </a:p>
        </p:txBody>
      </p:sp>
      <p:sp>
        <p:nvSpPr>
          <p:cNvPr id="16" name="TextBox 15">
            <a:extLst>
              <a:ext uri="{FF2B5EF4-FFF2-40B4-BE49-F238E27FC236}">
                <a16:creationId xmlns:a16="http://schemas.microsoft.com/office/drawing/2014/main" id="{AD9F5B07-CC0C-8242-81AD-1C0EB2CDA362}"/>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5" name="Text Placeholder 4">
            <a:extLst>
              <a:ext uri="{FF2B5EF4-FFF2-40B4-BE49-F238E27FC236}">
                <a16:creationId xmlns:a16="http://schemas.microsoft.com/office/drawing/2014/main" id="{0E2F481A-950D-FAC1-C471-F344B373ED4C}"/>
              </a:ext>
            </a:extLst>
          </p:cNvPr>
          <p:cNvSpPr>
            <a:spLocks noGrp="1"/>
          </p:cNvSpPr>
          <p:nvPr>
            <p:ph type="body" sz="quarter" idx="23"/>
          </p:nvPr>
        </p:nvSpPr>
        <p:spPr>
          <a:xfrm>
            <a:off x="457200" y="1691640"/>
            <a:ext cx="5435600" cy="4315460"/>
          </a:xfrm>
        </p:spPr>
        <p:txBody>
          <a:bodyPr/>
          <a:lstStyle>
            <a:lvl1pPr>
              <a:lnSpc>
                <a:spcPct val="120000"/>
              </a:lnSpc>
              <a:spcBef>
                <a:spcPts val="1600"/>
              </a:spcBef>
              <a:defRPr sz="1600"/>
            </a:lvl1pPr>
            <a:lvl2pPr>
              <a:lnSpc>
                <a:spcPct val="120000"/>
              </a:lnSpc>
              <a:spcBef>
                <a:spcPts val="1600"/>
              </a:spcBef>
              <a:defRPr sz="1600"/>
            </a:lvl2pPr>
            <a:lvl3pPr>
              <a:lnSpc>
                <a:spcPct val="120000"/>
              </a:lnSpc>
              <a:spcBef>
                <a:spcPts val="1600"/>
              </a:spcBef>
              <a:defRPr sz="1600"/>
            </a:lvl3pPr>
            <a:lvl4pPr>
              <a:lnSpc>
                <a:spcPct val="120000"/>
              </a:lnSpc>
              <a:spcBef>
                <a:spcPts val="1600"/>
              </a:spcBef>
              <a:defRPr sz="1600"/>
            </a:lvl4pPr>
            <a:lvl5pPr>
              <a:lnSpc>
                <a:spcPct val="120000"/>
              </a:lnSpc>
              <a:spcBef>
                <a:spcPts val="1600"/>
              </a:spcBef>
              <a:defRPr sz="1600"/>
            </a:lvl5pPr>
            <a:lvl6pPr>
              <a:lnSpc>
                <a:spcPct val="120000"/>
              </a:lnSpc>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Placeholder 3">
            <a:extLst>
              <a:ext uri="{FF2B5EF4-FFF2-40B4-BE49-F238E27FC236}">
                <a16:creationId xmlns:a16="http://schemas.microsoft.com/office/drawing/2014/main" id="{7A31417D-2358-F67F-3897-9A48812A6321}"/>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9744498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11418EC-3C88-4D46-862D-8E997A834E37}"/>
              </a:ext>
            </a:extLst>
          </p:cNvPr>
          <p:cNvSpPr>
            <a:spLocks noGrp="1"/>
          </p:cNvSpPr>
          <p:nvPr>
            <p:ph type="pic" sz="quarter" idx="10"/>
          </p:nvPr>
        </p:nvSpPr>
        <p:spPr>
          <a:xfrm>
            <a:off x="0" y="0"/>
            <a:ext cx="12192000" cy="6858000"/>
          </a:xfrm>
          <a:solidFill>
            <a:schemeClr val="bg1">
              <a:lumMod val="95000"/>
            </a:schemeClr>
          </a:solidFill>
        </p:spPr>
        <p:txBody>
          <a:bodyPr vert="horz" lIns="0" tIns="0" rIns="0" bIns="0" rtlCol="0">
            <a:noAutofit/>
          </a:bodyPr>
          <a:lstStyle>
            <a:lvl1pPr>
              <a:defRPr lang="en-US" sz="1200"/>
            </a:lvl1pPr>
          </a:lstStyle>
          <a:p>
            <a:pPr lvl="0"/>
            <a:r>
              <a:rPr lang="en-US"/>
              <a:t>Click icon to add picture</a:t>
            </a:r>
            <a:endParaRPr lang="en-US" dirty="0"/>
          </a:p>
        </p:txBody>
      </p:sp>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28331576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997200"/>
          </a:xfrm>
        </p:spPr>
        <p:txBody>
          <a:bodyPr vert="horz"/>
          <a:lstStyle>
            <a:lvl1pPr>
              <a:defRPr sz="6600">
                <a:solidFill>
                  <a:schemeClr val="bg1"/>
                </a:solidFill>
              </a:defRPr>
            </a:lvl1pPr>
          </a:lstStyle>
          <a:p>
            <a:r>
              <a:rPr lang="en-US" dirty="0"/>
              <a:t>Hero statement </a:t>
            </a:r>
            <a:br>
              <a:rPr lang="en-US" dirty="0"/>
            </a:br>
            <a:r>
              <a:rPr lang="en-US" dirty="0"/>
              <a:t>or divider title here</a:t>
            </a:r>
          </a:p>
        </p:txBody>
      </p:sp>
      <p:sp>
        <p:nvSpPr>
          <p:cNvPr id="16" name="Text Placeholder 15">
            <a:extLst>
              <a:ext uri="{FF2B5EF4-FFF2-40B4-BE49-F238E27FC236}">
                <a16:creationId xmlns:a16="http://schemas.microsoft.com/office/drawing/2014/main" id="{37CEF25A-BB49-7744-A3F7-57849C61D7A6}"/>
              </a:ext>
            </a:extLst>
          </p:cNvPr>
          <p:cNvSpPr>
            <a:spLocks noGrp="1"/>
          </p:cNvSpPr>
          <p:nvPr>
            <p:ph type="body" sz="quarter" idx="11"/>
          </p:nvPr>
        </p:nvSpPr>
        <p:spPr>
          <a:xfrm>
            <a:off x="457198" y="6181343"/>
            <a:ext cx="365345" cy="365371"/>
          </a:xfrm>
          <a:custGeom>
            <a:avLst/>
            <a:gdLst>
              <a:gd name="connsiteX0" fmla="*/ 248180 w 365345"/>
              <a:gd name="connsiteY0" fmla="*/ 130851 h 365371"/>
              <a:gd name="connsiteX1" fmla="*/ 259521 w 365345"/>
              <a:gd name="connsiteY1" fmla="*/ 136692 h 365371"/>
              <a:gd name="connsiteX2" fmla="*/ 277100 w 365345"/>
              <a:gd name="connsiteY2" fmla="*/ 139811 h 365371"/>
              <a:gd name="connsiteX3" fmla="*/ 259436 w 365345"/>
              <a:gd name="connsiteY3" fmla="*/ 182681 h 365371"/>
              <a:gd name="connsiteX4" fmla="*/ 263576 w 365345"/>
              <a:gd name="connsiteY4" fmla="*/ 190110 h 365371"/>
              <a:gd name="connsiteX5" fmla="*/ 277185 w 365345"/>
              <a:gd name="connsiteY5" fmla="*/ 189061 h 365371"/>
              <a:gd name="connsiteX6" fmla="*/ 291787 w 365345"/>
              <a:gd name="connsiteY6" fmla="*/ 190280 h 365371"/>
              <a:gd name="connsiteX7" fmla="*/ 364117 w 365345"/>
              <a:gd name="connsiteY7" fmla="*/ 291814 h 365371"/>
              <a:gd name="connsiteX8" fmla="*/ 262583 w 365345"/>
              <a:gd name="connsiteY8" fmla="*/ 364143 h 365371"/>
              <a:gd name="connsiteX9" fmla="*/ 190253 w 365345"/>
              <a:gd name="connsiteY9" fmla="*/ 262610 h 365371"/>
              <a:gd name="connsiteX10" fmla="*/ 225525 w 365345"/>
              <a:gd name="connsiteY10" fmla="*/ 277127 h 365371"/>
              <a:gd name="connsiteX11" fmla="*/ 234542 w 365345"/>
              <a:gd name="connsiteY11" fmla="*/ 306359 h 365371"/>
              <a:gd name="connsiteX12" fmla="*/ 306304 w 365345"/>
              <a:gd name="connsiteY12" fmla="*/ 319827 h 365371"/>
              <a:gd name="connsiteX13" fmla="*/ 319772 w 365345"/>
              <a:gd name="connsiteY13" fmla="*/ 248064 h 365371"/>
              <a:gd name="connsiteX14" fmla="*/ 248010 w 365345"/>
              <a:gd name="connsiteY14" fmla="*/ 234596 h 365371"/>
              <a:gd name="connsiteX15" fmla="*/ 226773 w 365345"/>
              <a:gd name="connsiteY15" fmla="*/ 182681 h 365371"/>
              <a:gd name="connsiteX16" fmla="*/ 277156 w 365345"/>
              <a:gd name="connsiteY16" fmla="*/ 0 h 365371"/>
              <a:gd name="connsiteX17" fmla="*/ 277185 w 365345"/>
              <a:gd name="connsiteY17" fmla="*/ 0 h 365371"/>
              <a:gd name="connsiteX18" fmla="*/ 277156 w 365345"/>
              <a:gd name="connsiteY18" fmla="*/ 6 h 365371"/>
              <a:gd name="connsiteX19" fmla="*/ 88095 w 365345"/>
              <a:gd name="connsiteY19" fmla="*/ 0 h 365371"/>
              <a:gd name="connsiteX20" fmla="*/ 103264 w 365345"/>
              <a:gd name="connsiteY20" fmla="*/ 1304 h 365371"/>
              <a:gd name="connsiteX21" fmla="*/ 173997 w 365345"/>
              <a:gd name="connsiteY21" fmla="*/ 67899 h 365371"/>
              <a:gd name="connsiteX22" fmla="*/ 175026 w 365345"/>
              <a:gd name="connsiteY22" fmla="*/ 102757 h 365371"/>
              <a:gd name="connsiteX23" fmla="*/ 182654 w 365345"/>
              <a:gd name="connsiteY23" fmla="*/ 105900 h 365371"/>
              <a:gd name="connsiteX24" fmla="*/ 190083 w 365345"/>
              <a:gd name="connsiteY24" fmla="*/ 101761 h 365371"/>
              <a:gd name="connsiteX25" fmla="*/ 189034 w 365345"/>
              <a:gd name="connsiteY25" fmla="*/ 88151 h 365371"/>
              <a:gd name="connsiteX26" fmla="*/ 242873 w 365345"/>
              <a:gd name="connsiteY26" fmla="*/ 6928 h 365371"/>
              <a:gd name="connsiteX27" fmla="*/ 277156 w 365345"/>
              <a:gd name="connsiteY27" fmla="*/ 6 h 365371"/>
              <a:gd name="connsiteX28" fmla="*/ 277156 w 365345"/>
              <a:gd name="connsiteY28" fmla="*/ 142 h 365371"/>
              <a:gd name="connsiteX29" fmla="*/ 291758 w 365345"/>
              <a:gd name="connsiteY29" fmla="*/ 1361 h 365371"/>
              <a:gd name="connsiteX30" fmla="*/ 364088 w 365345"/>
              <a:gd name="connsiteY30" fmla="*/ 102895 h 365371"/>
              <a:gd name="connsiteX31" fmla="*/ 262554 w 365345"/>
              <a:gd name="connsiteY31" fmla="*/ 175225 h 365371"/>
              <a:gd name="connsiteX32" fmla="*/ 277100 w 365345"/>
              <a:gd name="connsiteY32" fmla="*/ 139953 h 365371"/>
              <a:gd name="connsiteX33" fmla="*/ 306332 w 365345"/>
              <a:gd name="connsiteY33" fmla="*/ 130936 h 365371"/>
              <a:gd name="connsiteX34" fmla="*/ 319800 w 365345"/>
              <a:gd name="connsiteY34" fmla="*/ 59174 h 365371"/>
              <a:gd name="connsiteX35" fmla="*/ 248037 w 365345"/>
              <a:gd name="connsiteY35" fmla="*/ 45706 h 365371"/>
              <a:gd name="connsiteX36" fmla="*/ 234569 w 365345"/>
              <a:gd name="connsiteY36" fmla="*/ 117469 h 365371"/>
              <a:gd name="connsiteX37" fmla="*/ 182654 w 365345"/>
              <a:gd name="connsiteY37" fmla="*/ 138564 h 365371"/>
              <a:gd name="connsiteX38" fmla="*/ 130824 w 365345"/>
              <a:gd name="connsiteY38" fmla="*/ 117213 h 365371"/>
              <a:gd name="connsiteX39" fmla="*/ 139780 w 365345"/>
              <a:gd name="connsiteY39" fmla="*/ 88250 h 365371"/>
              <a:gd name="connsiteX40" fmla="*/ 130767 w 365345"/>
              <a:gd name="connsiteY40" fmla="*/ 59032 h 365371"/>
              <a:gd name="connsiteX41" fmla="*/ 59005 w 365345"/>
              <a:gd name="connsiteY41" fmla="*/ 45564 h 365371"/>
              <a:gd name="connsiteX42" fmla="*/ 45537 w 365345"/>
              <a:gd name="connsiteY42" fmla="*/ 117327 h 365371"/>
              <a:gd name="connsiteX43" fmla="*/ 117299 w 365345"/>
              <a:gd name="connsiteY43" fmla="*/ 130795 h 365371"/>
              <a:gd name="connsiteX44" fmla="*/ 138508 w 365345"/>
              <a:gd name="connsiteY44" fmla="*/ 182682 h 365371"/>
              <a:gd name="connsiteX45" fmla="*/ 117101 w 365345"/>
              <a:gd name="connsiteY45" fmla="*/ 234512 h 365371"/>
              <a:gd name="connsiteX46" fmla="*/ 105760 w 365345"/>
              <a:gd name="connsiteY46" fmla="*/ 228671 h 365371"/>
              <a:gd name="connsiteX47" fmla="*/ 88180 w 365345"/>
              <a:gd name="connsiteY47" fmla="*/ 225552 h 365371"/>
              <a:gd name="connsiteX48" fmla="*/ 88180 w 365345"/>
              <a:gd name="connsiteY48" fmla="*/ 225551 h 365371"/>
              <a:gd name="connsiteX49" fmla="*/ 58948 w 365345"/>
              <a:gd name="connsiteY49" fmla="*/ 234568 h 365371"/>
              <a:gd name="connsiteX50" fmla="*/ 45480 w 365345"/>
              <a:gd name="connsiteY50" fmla="*/ 306330 h 365371"/>
              <a:gd name="connsiteX51" fmla="*/ 117243 w 365345"/>
              <a:gd name="connsiteY51" fmla="*/ 319798 h 365371"/>
              <a:gd name="connsiteX52" fmla="*/ 130711 w 365345"/>
              <a:gd name="connsiteY52" fmla="*/ 248036 h 365371"/>
              <a:gd name="connsiteX53" fmla="*/ 182655 w 365345"/>
              <a:gd name="connsiteY53" fmla="*/ 226799 h 365371"/>
              <a:gd name="connsiteX54" fmla="*/ 234456 w 365345"/>
              <a:gd name="connsiteY54" fmla="*/ 248149 h 365371"/>
              <a:gd name="connsiteX55" fmla="*/ 225525 w 365345"/>
              <a:gd name="connsiteY55" fmla="*/ 277126 h 365371"/>
              <a:gd name="connsiteX56" fmla="*/ 182655 w 365345"/>
              <a:gd name="connsiteY56" fmla="*/ 259462 h 365371"/>
              <a:gd name="connsiteX57" fmla="*/ 175226 w 365345"/>
              <a:gd name="connsiteY57" fmla="*/ 263602 h 365371"/>
              <a:gd name="connsiteX58" fmla="*/ 175056 w 365345"/>
              <a:gd name="connsiteY58" fmla="*/ 291700 h 365371"/>
              <a:gd name="connsiteX59" fmla="*/ 73635 w 365345"/>
              <a:gd name="connsiteY59" fmla="*/ 364030 h 365371"/>
              <a:gd name="connsiteX60" fmla="*/ 1306 w 365345"/>
              <a:gd name="connsiteY60" fmla="*/ 262609 h 365371"/>
              <a:gd name="connsiteX61" fmla="*/ 67768 w 365345"/>
              <a:gd name="connsiteY61" fmla="*/ 191450 h 365371"/>
              <a:gd name="connsiteX62" fmla="*/ 102704 w 365345"/>
              <a:gd name="connsiteY62" fmla="*/ 190281 h 365371"/>
              <a:gd name="connsiteX63" fmla="*/ 105845 w 365345"/>
              <a:gd name="connsiteY63" fmla="*/ 182653 h 365371"/>
              <a:gd name="connsiteX64" fmla="*/ 101705 w 365345"/>
              <a:gd name="connsiteY64" fmla="*/ 175253 h 365371"/>
              <a:gd name="connsiteX65" fmla="*/ 88095 w 365345"/>
              <a:gd name="connsiteY65" fmla="*/ 176302 h 365371"/>
              <a:gd name="connsiteX66" fmla="*/ 1 w 365345"/>
              <a:gd name="connsiteY66" fmla="*/ 88208 h 365371"/>
              <a:gd name="connsiteX67" fmla="*/ 88095 w 365345"/>
              <a:gd name="connsiteY67" fmla="*/ 0 h 36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65345" h="365371">
                <a:moveTo>
                  <a:pt x="248180" y="130851"/>
                </a:moveTo>
                <a:cubicBezTo>
                  <a:pt x="251695" y="133261"/>
                  <a:pt x="255523" y="135217"/>
                  <a:pt x="259521" y="136692"/>
                </a:cubicBezTo>
                <a:cubicBezTo>
                  <a:pt x="265163" y="138733"/>
                  <a:pt x="271118" y="139811"/>
                  <a:pt x="277100" y="139811"/>
                </a:cubicBezTo>
                <a:lnTo>
                  <a:pt x="259436" y="182681"/>
                </a:lnTo>
                <a:lnTo>
                  <a:pt x="263576" y="190110"/>
                </a:lnTo>
                <a:cubicBezTo>
                  <a:pt x="268084" y="189401"/>
                  <a:pt x="272620" y="189061"/>
                  <a:pt x="277185" y="189061"/>
                </a:cubicBezTo>
                <a:cubicBezTo>
                  <a:pt x="282090" y="189061"/>
                  <a:pt x="286967" y="189458"/>
                  <a:pt x="291787" y="190280"/>
                </a:cubicBezTo>
                <a:cubicBezTo>
                  <a:pt x="339790" y="198332"/>
                  <a:pt x="372169" y="243811"/>
                  <a:pt x="364117" y="291814"/>
                </a:cubicBezTo>
                <a:cubicBezTo>
                  <a:pt x="356065" y="339816"/>
                  <a:pt x="310586" y="372196"/>
                  <a:pt x="262583" y="364143"/>
                </a:cubicBezTo>
                <a:cubicBezTo>
                  <a:pt x="214581" y="356091"/>
                  <a:pt x="182201" y="310612"/>
                  <a:pt x="190253" y="262610"/>
                </a:cubicBezTo>
                <a:lnTo>
                  <a:pt x="225525" y="277127"/>
                </a:lnTo>
                <a:cubicBezTo>
                  <a:pt x="225497" y="287561"/>
                  <a:pt x="228644" y="297740"/>
                  <a:pt x="234542" y="306359"/>
                </a:cubicBezTo>
                <a:cubicBezTo>
                  <a:pt x="250646" y="329892"/>
                  <a:pt x="282771" y="335932"/>
                  <a:pt x="306304" y="319827"/>
                </a:cubicBezTo>
                <a:cubicBezTo>
                  <a:pt x="329838" y="303722"/>
                  <a:pt x="335877" y="271598"/>
                  <a:pt x="319772" y="248064"/>
                </a:cubicBezTo>
                <a:cubicBezTo>
                  <a:pt x="303667" y="224531"/>
                  <a:pt x="271543" y="218492"/>
                  <a:pt x="248010" y="234596"/>
                </a:cubicBezTo>
                <a:lnTo>
                  <a:pt x="226773" y="182681"/>
                </a:lnTo>
                <a:close/>
                <a:moveTo>
                  <a:pt x="277156" y="0"/>
                </a:moveTo>
                <a:lnTo>
                  <a:pt x="277185" y="0"/>
                </a:lnTo>
                <a:lnTo>
                  <a:pt x="277156" y="6"/>
                </a:lnTo>
                <a:close/>
                <a:moveTo>
                  <a:pt x="88095" y="0"/>
                </a:moveTo>
                <a:cubicBezTo>
                  <a:pt x="93199" y="0"/>
                  <a:pt x="98246" y="425"/>
                  <a:pt x="103264" y="1304"/>
                </a:cubicBezTo>
                <a:cubicBezTo>
                  <a:pt x="139139" y="7450"/>
                  <a:pt x="166177" y="34552"/>
                  <a:pt x="173997" y="67899"/>
                </a:cubicBezTo>
                <a:lnTo>
                  <a:pt x="175026" y="102757"/>
                </a:lnTo>
                <a:lnTo>
                  <a:pt x="182654" y="105900"/>
                </a:lnTo>
                <a:lnTo>
                  <a:pt x="190083" y="101761"/>
                </a:lnTo>
                <a:cubicBezTo>
                  <a:pt x="189374" y="97252"/>
                  <a:pt x="189034" y="92716"/>
                  <a:pt x="189034" y="88151"/>
                </a:cubicBezTo>
                <a:cubicBezTo>
                  <a:pt x="189034" y="51639"/>
                  <a:pt x="211235" y="20310"/>
                  <a:pt x="242873" y="6928"/>
                </a:cubicBezTo>
                <a:lnTo>
                  <a:pt x="277156" y="6"/>
                </a:lnTo>
                <a:lnTo>
                  <a:pt x="277156" y="142"/>
                </a:lnTo>
                <a:cubicBezTo>
                  <a:pt x="282062" y="142"/>
                  <a:pt x="286938" y="539"/>
                  <a:pt x="291758" y="1361"/>
                </a:cubicBezTo>
                <a:cubicBezTo>
                  <a:pt x="339789" y="9413"/>
                  <a:pt x="372169" y="54892"/>
                  <a:pt x="364088" y="102895"/>
                </a:cubicBezTo>
                <a:cubicBezTo>
                  <a:pt x="356036" y="150926"/>
                  <a:pt x="310557" y="183305"/>
                  <a:pt x="262554" y="175225"/>
                </a:cubicBezTo>
                <a:lnTo>
                  <a:pt x="277100" y="139953"/>
                </a:lnTo>
                <a:cubicBezTo>
                  <a:pt x="287534" y="139981"/>
                  <a:pt x="297713" y="136834"/>
                  <a:pt x="306332" y="130936"/>
                </a:cubicBezTo>
                <a:cubicBezTo>
                  <a:pt x="329865" y="114832"/>
                  <a:pt x="335905" y="82707"/>
                  <a:pt x="319800" y="59174"/>
                </a:cubicBezTo>
                <a:cubicBezTo>
                  <a:pt x="303695" y="35640"/>
                  <a:pt x="271571" y="29601"/>
                  <a:pt x="248037" y="45706"/>
                </a:cubicBezTo>
                <a:cubicBezTo>
                  <a:pt x="224504" y="61811"/>
                  <a:pt x="218465" y="93935"/>
                  <a:pt x="234569" y="117469"/>
                </a:cubicBezTo>
                <a:lnTo>
                  <a:pt x="182654" y="138564"/>
                </a:lnTo>
                <a:lnTo>
                  <a:pt x="130824" y="117213"/>
                </a:lnTo>
                <a:lnTo>
                  <a:pt x="139780" y="88250"/>
                </a:lnTo>
                <a:lnTo>
                  <a:pt x="130767" y="59032"/>
                </a:lnTo>
                <a:cubicBezTo>
                  <a:pt x="114663" y="35499"/>
                  <a:pt x="82538" y="29459"/>
                  <a:pt x="59005" y="45564"/>
                </a:cubicBezTo>
                <a:cubicBezTo>
                  <a:pt x="35471" y="61669"/>
                  <a:pt x="29432" y="93793"/>
                  <a:pt x="45537" y="117327"/>
                </a:cubicBezTo>
                <a:cubicBezTo>
                  <a:pt x="61642" y="140860"/>
                  <a:pt x="93766" y="146899"/>
                  <a:pt x="117299" y="130795"/>
                </a:cubicBezTo>
                <a:lnTo>
                  <a:pt x="138508" y="182682"/>
                </a:lnTo>
                <a:lnTo>
                  <a:pt x="117101" y="234512"/>
                </a:lnTo>
                <a:cubicBezTo>
                  <a:pt x="113585" y="232102"/>
                  <a:pt x="109786" y="230117"/>
                  <a:pt x="105760" y="228671"/>
                </a:cubicBezTo>
                <a:cubicBezTo>
                  <a:pt x="100117" y="226629"/>
                  <a:pt x="94163" y="225552"/>
                  <a:pt x="88180" y="225552"/>
                </a:cubicBezTo>
                <a:lnTo>
                  <a:pt x="88180" y="225551"/>
                </a:lnTo>
                <a:lnTo>
                  <a:pt x="58948" y="234568"/>
                </a:lnTo>
                <a:cubicBezTo>
                  <a:pt x="35415" y="250673"/>
                  <a:pt x="29376" y="282797"/>
                  <a:pt x="45480" y="306330"/>
                </a:cubicBezTo>
                <a:cubicBezTo>
                  <a:pt x="61585" y="329864"/>
                  <a:pt x="93710" y="335903"/>
                  <a:pt x="117243" y="319798"/>
                </a:cubicBezTo>
                <a:cubicBezTo>
                  <a:pt x="140776" y="303694"/>
                  <a:pt x="146816" y="271569"/>
                  <a:pt x="130711" y="248036"/>
                </a:cubicBezTo>
                <a:lnTo>
                  <a:pt x="182655" y="226799"/>
                </a:lnTo>
                <a:lnTo>
                  <a:pt x="234456" y="248149"/>
                </a:lnTo>
                <a:cubicBezTo>
                  <a:pt x="228672" y="256712"/>
                  <a:pt x="225553" y="266806"/>
                  <a:pt x="225525" y="277126"/>
                </a:cubicBezTo>
                <a:lnTo>
                  <a:pt x="182655" y="259462"/>
                </a:lnTo>
                <a:lnTo>
                  <a:pt x="175226" y="263602"/>
                </a:lnTo>
                <a:cubicBezTo>
                  <a:pt x="176672" y="272902"/>
                  <a:pt x="176615" y="282400"/>
                  <a:pt x="175056" y="291700"/>
                </a:cubicBezTo>
                <a:cubicBezTo>
                  <a:pt x="167032" y="339674"/>
                  <a:pt x="121609" y="372054"/>
                  <a:pt x="73635" y="364030"/>
                </a:cubicBezTo>
                <a:cubicBezTo>
                  <a:pt x="25661" y="356006"/>
                  <a:pt x="-6718" y="310583"/>
                  <a:pt x="1306" y="262609"/>
                </a:cubicBezTo>
                <a:cubicBezTo>
                  <a:pt x="7324" y="226629"/>
                  <a:pt x="34378" y="199420"/>
                  <a:pt x="67768" y="191450"/>
                </a:cubicBezTo>
                <a:lnTo>
                  <a:pt x="102704" y="190281"/>
                </a:lnTo>
                <a:lnTo>
                  <a:pt x="105845" y="182653"/>
                </a:lnTo>
                <a:lnTo>
                  <a:pt x="101705" y="175253"/>
                </a:lnTo>
                <a:cubicBezTo>
                  <a:pt x="97197" y="175962"/>
                  <a:pt x="92660" y="176302"/>
                  <a:pt x="88095" y="176302"/>
                </a:cubicBezTo>
                <a:cubicBezTo>
                  <a:pt x="39469" y="176274"/>
                  <a:pt x="29" y="136862"/>
                  <a:pt x="1" y="88208"/>
                </a:cubicBezTo>
                <a:cubicBezTo>
                  <a:pt x="-27" y="39525"/>
                  <a:pt x="39412" y="28"/>
                  <a:pt x="88095" y="0"/>
                </a:cubicBezTo>
                <a:close/>
              </a:path>
            </a:pathLst>
          </a:custGeom>
          <a:solidFill>
            <a:schemeClr val="bg1"/>
          </a:solidFill>
        </p:spPr>
        <p:txBody>
          <a:bodyPr wrap="square">
            <a:noAutofit/>
          </a:bodyPr>
          <a:lstStyle>
            <a:lvl1pPr>
              <a:defRPr sz="100">
                <a:solidFill>
                  <a:schemeClr val="bg1">
                    <a:alpha val="0"/>
                  </a:schemeClr>
                </a:solidFill>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11" name="Text Placeholder 3">
            <a:extLst>
              <a:ext uri="{FF2B5EF4-FFF2-40B4-BE49-F238E27FC236}">
                <a16:creationId xmlns:a16="http://schemas.microsoft.com/office/drawing/2014/main" id="{010248EB-08DC-67F8-0BAA-D525554D2B7A}"/>
              </a:ext>
            </a:extLst>
          </p:cNvPr>
          <p:cNvSpPr>
            <a:spLocks noGrp="1"/>
          </p:cNvSpPr>
          <p:nvPr>
            <p:ph type="body" sz="half" idx="12" hasCustomPrompt="1"/>
          </p:nvPr>
        </p:nvSpPr>
        <p:spPr>
          <a:xfrm>
            <a:off x="11355660" y="6426199"/>
            <a:ext cx="379141" cy="146380"/>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fld id="{DB91F917-4553-0B4C-86D1-30F17B222285}" type="slidenum">
              <a:rPr lang="en-US" smtClean="0"/>
              <a:t>‹#›</a:t>
            </a:fld>
            <a:endParaRPr lang="en-US" dirty="0"/>
          </a:p>
        </p:txBody>
      </p:sp>
      <p:sp>
        <p:nvSpPr>
          <p:cNvPr id="3" name="Text Placeholder 3">
            <a:extLst>
              <a:ext uri="{FF2B5EF4-FFF2-40B4-BE49-F238E27FC236}">
                <a16:creationId xmlns:a16="http://schemas.microsoft.com/office/drawing/2014/main" id="{411F9832-5258-C40A-D37B-70EE199D92AB}"/>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4764113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Pale Navy">
    <p:bg>
      <p:bgPr>
        <a:solidFill>
          <a:srgbClr val="E1EDFF"/>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30771293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rgbClr val="5009B5"/>
                </a:solidFill>
              </a:defRPr>
            </a:lvl1pPr>
          </a:lstStyle>
          <a:p>
            <a:r>
              <a:rPr lang="en-US" dirty="0"/>
              <a:t>Hero statement </a:t>
            </a:r>
            <a:br>
              <a:rPr lang="en-US" dirty="0"/>
            </a:br>
            <a:r>
              <a:rPr lang="en-US" dirty="0"/>
              <a:t>or divider title here</a:t>
            </a:r>
          </a:p>
        </p:txBody>
      </p:sp>
      <p:sp>
        <p:nvSpPr>
          <p:cNvPr id="18" name="TextBox 17">
            <a:extLst>
              <a:ext uri="{FF2B5EF4-FFF2-40B4-BE49-F238E27FC236}">
                <a16:creationId xmlns:a16="http://schemas.microsoft.com/office/drawing/2014/main" id="{5171EC9A-3FCB-D640-AF36-C3E697D172BC}"/>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pic>
        <p:nvPicPr>
          <p:cNvPr id="7" name="Graphic 6">
            <a:extLst>
              <a:ext uri="{FF2B5EF4-FFF2-40B4-BE49-F238E27FC236}">
                <a16:creationId xmlns:a16="http://schemas.microsoft.com/office/drawing/2014/main" id="{AB06DF94-869D-D84E-B441-85669CD6729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3" name="Text Placeholder 3">
            <a:extLst>
              <a:ext uri="{FF2B5EF4-FFF2-40B4-BE49-F238E27FC236}">
                <a16:creationId xmlns:a16="http://schemas.microsoft.com/office/drawing/2014/main" id="{DFB7817E-76A9-CFF1-2043-4C71B3BFEE56}"/>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3232014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Purple">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2765841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bg1"/>
                </a:solidFill>
              </a:defRPr>
            </a:lvl1pPr>
          </a:lstStyle>
          <a:p>
            <a:r>
              <a:rPr lang="en-US" dirty="0"/>
              <a:t>Hero statement </a:t>
            </a:r>
            <a:br>
              <a:rPr lang="en-US" dirty="0"/>
            </a:br>
            <a:r>
              <a:rPr lang="en-US" dirty="0"/>
              <a:t>or divider title here</a:t>
            </a:r>
          </a:p>
        </p:txBody>
      </p:sp>
      <p:sp>
        <p:nvSpPr>
          <p:cNvPr id="17" name="TextBox 16">
            <a:extLst>
              <a:ext uri="{FF2B5EF4-FFF2-40B4-BE49-F238E27FC236}">
                <a16:creationId xmlns:a16="http://schemas.microsoft.com/office/drawing/2014/main" id="{890AE740-6CAB-F549-92C4-3E31CD5CDCAC}"/>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22C9D7E0-B66C-364D-998B-7DC36AC05DC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3" name="Text Placeholder 3">
            <a:extLst>
              <a:ext uri="{FF2B5EF4-FFF2-40B4-BE49-F238E27FC236}">
                <a16:creationId xmlns:a16="http://schemas.microsoft.com/office/drawing/2014/main" id="{FA8BA841-B76E-A57C-D6B0-05A10F8B5810}"/>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4046448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Linear Supergraphic">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4240814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Arc 6">
            <a:extLst>
              <a:ext uri="{FF2B5EF4-FFF2-40B4-BE49-F238E27FC236}">
                <a16:creationId xmlns:a16="http://schemas.microsoft.com/office/drawing/2014/main" id="{620EC642-4CC9-DC4D-BE90-46572834EF99}"/>
              </a:ext>
            </a:extLst>
          </p:cNvPr>
          <p:cNvSpPr/>
          <p:nvPr/>
        </p:nvSpPr>
        <p:spPr>
          <a:xfrm rot="10800000">
            <a:off x="7700406" y="-5517141"/>
            <a:ext cx="8983187" cy="8983187"/>
          </a:xfrm>
          <a:prstGeom prst="arc">
            <a:avLst>
              <a:gd name="adj1" fmla="val 16200000"/>
              <a:gd name="adj2" fmla="val 20840015"/>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cxnSp>
        <p:nvCxnSpPr>
          <p:cNvPr id="8" name="Straight Connector 7">
            <a:extLst>
              <a:ext uri="{FF2B5EF4-FFF2-40B4-BE49-F238E27FC236}">
                <a16:creationId xmlns:a16="http://schemas.microsoft.com/office/drawing/2014/main" id="{FA9F3445-6864-B14F-A29E-23391F292240}"/>
              </a:ext>
            </a:extLst>
          </p:cNvPr>
          <p:cNvCxnSpPr>
            <a:cxnSpLocks/>
          </p:cNvCxnSpPr>
          <p:nvPr/>
        </p:nvCxnSpPr>
        <p:spPr>
          <a:xfrm>
            <a:off x="0" y="3466047"/>
            <a:ext cx="12192000" cy="0"/>
          </a:xfrm>
          <a:prstGeom prst="line">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0" name="Arc 9">
            <a:extLst>
              <a:ext uri="{FF2B5EF4-FFF2-40B4-BE49-F238E27FC236}">
                <a16:creationId xmlns:a16="http://schemas.microsoft.com/office/drawing/2014/main" id="{0635C588-6C55-2E43-BC88-265490E0DB15}"/>
              </a:ext>
            </a:extLst>
          </p:cNvPr>
          <p:cNvSpPr/>
          <p:nvPr/>
        </p:nvSpPr>
        <p:spPr>
          <a:xfrm rot="16200000">
            <a:off x="7700406" y="3466048"/>
            <a:ext cx="8983187" cy="8983187"/>
          </a:xfrm>
          <a:prstGeom prst="arc">
            <a:avLst>
              <a:gd name="adj1" fmla="val 17017882"/>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11" name="Title 1">
            <a:extLst>
              <a:ext uri="{FF2B5EF4-FFF2-40B4-BE49-F238E27FC236}">
                <a16:creationId xmlns:a16="http://schemas.microsoft.com/office/drawing/2014/main" id="{1390B095-2D96-6E43-929A-E80EF478568E}"/>
              </a:ext>
            </a:extLst>
          </p:cNvPr>
          <p:cNvSpPr>
            <a:spLocks noGrp="1"/>
          </p:cNvSpPr>
          <p:nvPr>
            <p:ph type="ctrTitle" hasCustomPrompt="1"/>
          </p:nvPr>
        </p:nvSpPr>
        <p:spPr>
          <a:xfrm>
            <a:off x="415088" y="1503979"/>
            <a:ext cx="8349500" cy="1567689"/>
          </a:xfrm>
        </p:spPr>
        <p:txBody>
          <a:bodyPr vert="horz" anchor="b" anchorCtr="0"/>
          <a:lstStyle>
            <a:lvl1pPr algn="l">
              <a:defRPr sz="5200">
                <a:solidFill>
                  <a:schemeClr val="bg1"/>
                </a:solidFill>
              </a:defRPr>
            </a:lvl1pPr>
          </a:lstStyle>
          <a:p>
            <a:r>
              <a:rPr lang="en-US" dirty="0"/>
              <a:t>Click to add  </a:t>
            </a:r>
            <a:br>
              <a:rPr lang="en-US" dirty="0"/>
            </a:br>
            <a:r>
              <a:rPr lang="en-US" dirty="0"/>
              <a:t>presentation title</a:t>
            </a:r>
          </a:p>
        </p:txBody>
      </p:sp>
      <p:sp>
        <p:nvSpPr>
          <p:cNvPr id="12" name="Subtitle 2">
            <a:extLst>
              <a:ext uri="{FF2B5EF4-FFF2-40B4-BE49-F238E27FC236}">
                <a16:creationId xmlns:a16="http://schemas.microsoft.com/office/drawing/2014/main" id="{BBE8C3BB-E299-1045-A7F2-6999E3919628}"/>
              </a:ext>
            </a:extLst>
          </p:cNvPr>
          <p:cNvSpPr>
            <a:spLocks noGrp="1"/>
          </p:cNvSpPr>
          <p:nvPr>
            <p:ph type="subTitle" idx="1" hasCustomPrompt="1"/>
          </p:nvPr>
        </p:nvSpPr>
        <p:spPr>
          <a:xfrm>
            <a:off x="415088" y="4517136"/>
            <a:ext cx="5638800" cy="228600"/>
          </a:xfr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3" name="Text Placeholder 11">
            <a:extLst>
              <a:ext uri="{FF2B5EF4-FFF2-40B4-BE49-F238E27FC236}">
                <a16:creationId xmlns:a16="http://schemas.microsoft.com/office/drawing/2014/main" id="{50FC71C6-D550-E544-AF63-6785F09DCCB1}"/>
              </a:ext>
            </a:extLst>
          </p:cNvPr>
          <p:cNvSpPr>
            <a:spLocks noGrp="1"/>
          </p:cNvSpPr>
          <p:nvPr>
            <p:ph type="body" sz="quarter" idx="11" hasCustomPrompt="1"/>
          </p:nvPr>
        </p:nvSpPr>
        <p:spPr>
          <a:xfrm>
            <a:off x="415088" y="4758997"/>
            <a:ext cx="5638800" cy="224536"/>
          </a:xfrm>
        </p:spPr>
        <p:txBody>
          <a:bodyPr vert="horz" lIns="0" tIns="0" rIns="0" bIns="0" rtlCol="0">
            <a:noAutofit/>
          </a:bodyPr>
          <a:lstStyle>
            <a:lvl1pPr>
              <a:defRPr lang="en-US" sz="1800" i="0" dirty="0">
                <a:solidFill>
                  <a:schemeClr val="bg1"/>
                </a:solidFill>
                <a:latin typeface="+mn-lt"/>
              </a:defRPr>
            </a:lvl1pPr>
          </a:lstStyle>
          <a:p>
            <a:pPr lvl="0"/>
            <a:r>
              <a:rPr lang="en-US" dirty="0"/>
              <a:t>Click to add date</a:t>
            </a:r>
          </a:p>
        </p:txBody>
      </p:sp>
      <p:pic>
        <p:nvPicPr>
          <p:cNvPr id="14" name="Graphic 13">
            <a:extLst>
              <a:ext uri="{FF2B5EF4-FFF2-40B4-BE49-F238E27FC236}">
                <a16:creationId xmlns:a16="http://schemas.microsoft.com/office/drawing/2014/main" id="{B1842525-1E1E-1269-F797-58F7F571EA0C}"/>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86969" y="578424"/>
            <a:ext cx="1785575" cy="384339"/>
          </a:xfrm>
          <a:prstGeom prst="rect">
            <a:avLst/>
          </a:prstGeom>
        </p:spPr>
      </p:pic>
    </p:spTree>
    <p:extLst>
      <p:ext uri="{BB962C8B-B14F-4D97-AF65-F5344CB8AC3E}">
        <p14:creationId xmlns:p14="http://schemas.microsoft.com/office/powerpoint/2010/main" val="39627165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Linear Supergraphic">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36714935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Arc 8">
            <a:extLst>
              <a:ext uri="{FF2B5EF4-FFF2-40B4-BE49-F238E27FC236}">
                <a16:creationId xmlns:a16="http://schemas.microsoft.com/office/drawing/2014/main" id="{3CC3D56B-1DDC-7B46-ACFF-189DADCC9727}"/>
              </a:ext>
            </a:extLst>
          </p:cNvPr>
          <p:cNvSpPr/>
          <p:nvPr/>
        </p:nvSpPr>
        <p:spPr>
          <a:xfrm rot="10800000">
            <a:off x="6817543" y="-7579128"/>
            <a:ext cx="11020827" cy="11020826"/>
          </a:xfrm>
          <a:prstGeom prst="arc">
            <a:avLst>
              <a:gd name="adj1" fmla="val 16200000"/>
              <a:gd name="adj2" fmla="val 20324932"/>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10" name="Arc 9">
            <a:extLst>
              <a:ext uri="{FF2B5EF4-FFF2-40B4-BE49-F238E27FC236}">
                <a16:creationId xmlns:a16="http://schemas.microsoft.com/office/drawing/2014/main" id="{E964816C-5828-F543-8E86-D7C70C76ED78}"/>
              </a:ext>
            </a:extLst>
          </p:cNvPr>
          <p:cNvSpPr/>
          <p:nvPr/>
        </p:nvSpPr>
        <p:spPr>
          <a:xfrm rot="16200000">
            <a:off x="6817543" y="3441700"/>
            <a:ext cx="11020826" cy="11020827"/>
          </a:xfrm>
          <a:prstGeom prst="arc">
            <a:avLst>
              <a:gd name="adj1" fmla="val 17502107"/>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11" name="Arc 10">
            <a:extLst>
              <a:ext uri="{FF2B5EF4-FFF2-40B4-BE49-F238E27FC236}">
                <a16:creationId xmlns:a16="http://schemas.microsoft.com/office/drawing/2014/main" id="{332B99F5-3B29-CC40-B944-F50BA0B0F19A}"/>
              </a:ext>
            </a:extLst>
          </p:cNvPr>
          <p:cNvSpPr/>
          <p:nvPr/>
        </p:nvSpPr>
        <p:spPr>
          <a:xfrm rot="10800000" flipH="1">
            <a:off x="-5556492" y="-7579128"/>
            <a:ext cx="11020827" cy="11020826"/>
          </a:xfrm>
          <a:prstGeom prst="arc">
            <a:avLst>
              <a:gd name="adj1" fmla="val 16200000"/>
              <a:gd name="adj2" fmla="val 20316416"/>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12" name="Arc 11">
            <a:extLst>
              <a:ext uri="{FF2B5EF4-FFF2-40B4-BE49-F238E27FC236}">
                <a16:creationId xmlns:a16="http://schemas.microsoft.com/office/drawing/2014/main" id="{2B2063DF-792C-F94D-98E4-7344283EDFAE}"/>
              </a:ext>
            </a:extLst>
          </p:cNvPr>
          <p:cNvSpPr/>
          <p:nvPr/>
        </p:nvSpPr>
        <p:spPr>
          <a:xfrm rot="5400000" flipH="1">
            <a:off x="-5556492" y="3441700"/>
            <a:ext cx="11020826" cy="11020827"/>
          </a:xfrm>
          <a:prstGeom prst="arc">
            <a:avLst>
              <a:gd name="adj1" fmla="val 17492116"/>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bg1"/>
                </a:solidFill>
              </a:defRPr>
            </a:lvl1pPr>
          </a:lstStyle>
          <a:p>
            <a:r>
              <a:rPr lang="en-US" dirty="0"/>
              <a:t>Hero statement </a:t>
            </a:r>
            <a:br>
              <a:rPr lang="en-US" dirty="0"/>
            </a:br>
            <a:r>
              <a:rPr lang="en-US" dirty="0"/>
              <a:t>or divider title here</a:t>
            </a:r>
          </a:p>
        </p:txBody>
      </p:sp>
      <p:sp>
        <p:nvSpPr>
          <p:cNvPr id="17" name="TextBox 16">
            <a:extLst>
              <a:ext uri="{FF2B5EF4-FFF2-40B4-BE49-F238E27FC236}">
                <a16:creationId xmlns:a16="http://schemas.microsoft.com/office/drawing/2014/main" id="{890AE740-6CAB-F549-92C4-3E31CD5CDCAC}"/>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22C9D7E0-B66C-364D-998B-7DC36AC05DC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3" name="Text Placeholder 3">
            <a:extLst>
              <a:ext uri="{FF2B5EF4-FFF2-40B4-BE49-F238E27FC236}">
                <a16:creationId xmlns:a16="http://schemas.microsoft.com/office/drawing/2014/main" id="{51B6F5D8-132D-7887-249D-D1B8391FDD3D}"/>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2133566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371851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rgbClr val="5009B5"/>
                </a:solidFill>
                <a:latin typeface="+mj-lt"/>
              </a:defRPr>
            </a:lvl1pPr>
          </a:lstStyle>
          <a:p>
            <a:pPr lvl="0"/>
            <a:r>
              <a:rPr lang="en-US" dirty="0"/>
              <a:t>Click to edit master text styles</a:t>
            </a:r>
          </a:p>
        </p:txBody>
      </p:sp>
      <p:sp>
        <p:nvSpPr>
          <p:cNvPr id="4" name="Freeform 3">
            <a:extLst>
              <a:ext uri="{FF2B5EF4-FFF2-40B4-BE49-F238E27FC236}">
                <a16:creationId xmlns:a16="http://schemas.microsoft.com/office/drawing/2014/main" id="{BB7AEB5F-5A12-4849-8321-7BDC78220BA5}"/>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accent2"/>
          </a:solidFill>
          <a:ln w="15329" cap="flat">
            <a:noFill/>
            <a:prstDash val="solid"/>
            <a:miter/>
          </a:ln>
        </p:spPr>
        <p:txBody>
          <a:bodyPr rtlCol="0" anchor="ctr"/>
          <a:lstStyle/>
          <a:p>
            <a:endParaRPr lang="en-US" dirty="0">
              <a:solidFill>
                <a:schemeClr val="accent5"/>
              </a:solidFill>
            </a:endParaRPr>
          </a:p>
        </p:txBody>
      </p:sp>
      <p:sp>
        <p:nvSpPr>
          <p:cNvPr id="2" name="Text Placeholder 3">
            <a:extLst>
              <a:ext uri="{FF2B5EF4-FFF2-40B4-BE49-F238E27FC236}">
                <a16:creationId xmlns:a16="http://schemas.microsoft.com/office/drawing/2014/main" id="{241C57BE-78BC-306C-C5DB-8CB88662CF19}"/>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4748317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Dark Purple">
    <p:bg>
      <p:bgPr>
        <a:solidFill>
          <a:srgbClr val="2B1B49"/>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2373867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bg1"/>
                </a:solidFill>
                <a:latin typeface="+mj-lt"/>
              </a:defRPr>
            </a:lvl1pPr>
          </a:lstStyle>
          <a:p>
            <a:pPr lvl="0"/>
            <a:r>
              <a:rPr lang="en-US" dirty="0"/>
              <a:t>Click to edit master text styles</a:t>
            </a:r>
          </a:p>
        </p:txBody>
      </p:sp>
      <p:sp>
        <p:nvSpPr>
          <p:cNvPr id="10" name="TextBox 9">
            <a:extLst>
              <a:ext uri="{FF2B5EF4-FFF2-40B4-BE49-F238E27FC236}">
                <a16:creationId xmlns:a16="http://schemas.microsoft.com/office/drawing/2014/main" id="{5BEE62C7-B07C-3340-AA0C-134CBE664315}"/>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13" name="Freeform 12">
            <a:extLst>
              <a:ext uri="{FF2B5EF4-FFF2-40B4-BE49-F238E27FC236}">
                <a16:creationId xmlns:a16="http://schemas.microsoft.com/office/drawing/2014/main" id="{5D20399E-76CF-2149-B65E-025FF7F7B6B3}"/>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rgbClr val="794CFF"/>
          </a:solidFill>
          <a:ln w="15329" cap="flat">
            <a:noFill/>
            <a:prstDash val="solid"/>
            <a:miter/>
          </a:ln>
        </p:spPr>
        <p:txBody>
          <a:bodyPr rtlCol="0" anchor="ctr"/>
          <a:lstStyle/>
          <a:p>
            <a:endParaRPr lang="en-US" dirty="0"/>
          </a:p>
        </p:txBody>
      </p:sp>
      <p:pic>
        <p:nvPicPr>
          <p:cNvPr id="9" name="Graphic 8">
            <a:extLst>
              <a:ext uri="{FF2B5EF4-FFF2-40B4-BE49-F238E27FC236}">
                <a16:creationId xmlns:a16="http://schemas.microsoft.com/office/drawing/2014/main" id="{80B1E988-E9EB-CD4B-BB13-EB7636E3D89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2" name="Text Placeholder 3">
            <a:extLst>
              <a:ext uri="{FF2B5EF4-FFF2-40B4-BE49-F238E27FC236}">
                <a16:creationId xmlns:a16="http://schemas.microsoft.com/office/drawing/2014/main" id="{B2D39F53-3421-76AC-6885-5E453B44B888}"/>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42213181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Quote Purple">
    <p:bg>
      <p:bgPr>
        <a:solidFill>
          <a:srgbClr val="5009B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2373867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bg1"/>
                </a:solidFill>
                <a:latin typeface="+mj-lt"/>
              </a:defRPr>
            </a:lvl1pPr>
          </a:lstStyle>
          <a:p>
            <a:pPr lvl="0"/>
            <a:r>
              <a:rPr lang="en-US" dirty="0"/>
              <a:t>Click to edit master text styles</a:t>
            </a:r>
          </a:p>
        </p:txBody>
      </p:sp>
      <p:sp>
        <p:nvSpPr>
          <p:cNvPr id="10" name="TextBox 9">
            <a:extLst>
              <a:ext uri="{FF2B5EF4-FFF2-40B4-BE49-F238E27FC236}">
                <a16:creationId xmlns:a16="http://schemas.microsoft.com/office/drawing/2014/main" id="{5BEE62C7-B07C-3340-AA0C-134CBE664315}"/>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13" name="Freeform 12">
            <a:extLst>
              <a:ext uri="{FF2B5EF4-FFF2-40B4-BE49-F238E27FC236}">
                <a16:creationId xmlns:a16="http://schemas.microsoft.com/office/drawing/2014/main" id="{5D20399E-76CF-2149-B65E-025FF7F7B6B3}"/>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bg1"/>
          </a:solidFill>
          <a:ln w="15329" cap="flat">
            <a:noFill/>
            <a:prstDash val="solid"/>
            <a:miter/>
          </a:ln>
        </p:spPr>
        <p:txBody>
          <a:bodyPr rtlCol="0" anchor="ctr"/>
          <a:lstStyle/>
          <a:p>
            <a:endParaRPr lang="en-US" dirty="0"/>
          </a:p>
        </p:txBody>
      </p:sp>
      <p:pic>
        <p:nvPicPr>
          <p:cNvPr id="9" name="Graphic 8">
            <a:extLst>
              <a:ext uri="{FF2B5EF4-FFF2-40B4-BE49-F238E27FC236}">
                <a16:creationId xmlns:a16="http://schemas.microsoft.com/office/drawing/2014/main" id="{A2275E4F-1DD8-BD4C-839F-E0B290CCE1F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2" name="Text Placeholder 3">
            <a:extLst>
              <a:ext uri="{FF2B5EF4-FFF2-40B4-BE49-F238E27FC236}">
                <a16:creationId xmlns:a16="http://schemas.microsoft.com/office/drawing/2014/main" id="{574A1C6A-75E1-E73D-1785-3B41823664BE}"/>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1122258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22972913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dirty="0"/>
              <a:t>Click to edit master title style</a:t>
            </a:r>
          </a:p>
        </p:txBody>
      </p:sp>
      <p:sp>
        <p:nvSpPr>
          <p:cNvPr id="11" name="TextBox 10">
            <a:extLst>
              <a:ext uri="{FF2B5EF4-FFF2-40B4-BE49-F238E27FC236}">
                <a16:creationId xmlns:a16="http://schemas.microsoft.com/office/drawing/2014/main" id="{AFD28C7D-8653-A64D-9D01-E67E0D43199F}"/>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9" name="Content Placeholder 2">
            <a:extLst>
              <a:ext uri="{FF2B5EF4-FFF2-40B4-BE49-F238E27FC236}">
                <a16:creationId xmlns:a16="http://schemas.microsoft.com/office/drawing/2014/main" id="{4D13FCD8-11F4-9046-9E35-10C205A4D8EF}"/>
              </a:ext>
            </a:extLst>
          </p:cNvPr>
          <p:cNvSpPr>
            <a:spLocks noGrp="1"/>
          </p:cNvSpPr>
          <p:nvPr>
            <p:ph idx="1" hasCustomPrompt="1"/>
          </p:nvPr>
        </p:nvSpPr>
        <p:spPr>
          <a:xfrm>
            <a:off x="457200" y="1694048"/>
            <a:ext cx="11292840" cy="4313052"/>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3" name="Text Placeholder 3">
            <a:extLst>
              <a:ext uri="{FF2B5EF4-FFF2-40B4-BE49-F238E27FC236}">
                <a16:creationId xmlns:a16="http://schemas.microsoft.com/office/drawing/2014/main" id="{63B2BA8C-F768-1942-9D55-C9C13A2CF2D0}"/>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205484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r Two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E4D345-2197-6D4C-8F0D-3BC6B2AB1F25}"/>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3263532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p:txBody>
          <a:bodyPr/>
          <a:lstStyle/>
          <a:p>
            <a:r>
              <a:rPr lang="en-US" dirty="0"/>
              <a:t>Click to edit master title style</a:t>
            </a:r>
          </a:p>
        </p:txBody>
      </p:sp>
      <p:sp>
        <p:nvSpPr>
          <p:cNvPr id="9" name="Content Placeholder 5">
            <a:extLst>
              <a:ext uri="{FF2B5EF4-FFF2-40B4-BE49-F238E27FC236}">
                <a16:creationId xmlns:a16="http://schemas.microsoft.com/office/drawing/2014/main" id="{414C1B55-FB49-1B45-80DF-F67865047AC0}"/>
              </a:ext>
            </a:extLst>
          </p:cNvPr>
          <p:cNvSpPr>
            <a:spLocks noGrp="1"/>
          </p:cNvSpPr>
          <p:nvPr>
            <p:ph sz="quarter" idx="11" hasCustomPrompt="1"/>
          </p:nvPr>
        </p:nvSpPr>
        <p:spPr>
          <a:xfrm>
            <a:off x="457199" y="1691640"/>
            <a:ext cx="5529263"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1" name="Content Placeholder 5">
            <a:extLst>
              <a:ext uri="{FF2B5EF4-FFF2-40B4-BE49-F238E27FC236}">
                <a16:creationId xmlns:a16="http://schemas.microsoft.com/office/drawing/2014/main" id="{3CE53746-D2D1-A542-9C3B-721279458886}"/>
              </a:ext>
            </a:extLst>
          </p:cNvPr>
          <p:cNvSpPr>
            <a:spLocks noGrp="1"/>
          </p:cNvSpPr>
          <p:nvPr>
            <p:ph sz="quarter" idx="12" hasCustomPrompt="1"/>
          </p:nvPr>
        </p:nvSpPr>
        <p:spPr>
          <a:xfrm>
            <a:off x="6215063" y="1691640"/>
            <a:ext cx="5529263"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 name="Text Placeholder 3">
            <a:extLst>
              <a:ext uri="{FF2B5EF4-FFF2-40B4-BE49-F238E27FC236}">
                <a16:creationId xmlns:a16="http://schemas.microsoft.com/office/drawing/2014/main" id="{6414FEE0-F648-B4AD-281A-6AF5852DE406}"/>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931057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ar Three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1B14E8-876B-374C-8CD3-A164EDD6BA34}"/>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3292488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p:txBody>
          <a:bodyPr/>
          <a:lstStyle/>
          <a:p>
            <a:r>
              <a:rPr lang="en-US" dirty="0"/>
              <a:t>Click to edit master title style</a:t>
            </a:r>
          </a:p>
        </p:txBody>
      </p:sp>
      <p:sp>
        <p:nvSpPr>
          <p:cNvPr id="12" name="Content Placeholder 5">
            <a:extLst>
              <a:ext uri="{FF2B5EF4-FFF2-40B4-BE49-F238E27FC236}">
                <a16:creationId xmlns:a16="http://schemas.microsoft.com/office/drawing/2014/main" id="{C1C43114-B0E1-2846-9078-B6D57EAF7066}"/>
              </a:ext>
            </a:extLst>
          </p:cNvPr>
          <p:cNvSpPr>
            <a:spLocks noGrp="1"/>
          </p:cNvSpPr>
          <p:nvPr>
            <p:ph sz="quarter" idx="11" hasCustomPrompt="1"/>
          </p:nvPr>
        </p:nvSpPr>
        <p:spPr>
          <a:xfrm>
            <a:off x="457200" y="1691640"/>
            <a:ext cx="360997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3" name="Content Placeholder 5">
            <a:extLst>
              <a:ext uri="{FF2B5EF4-FFF2-40B4-BE49-F238E27FC236}">
                <a16:creationId xmlns:a16="http://schemas.microsoft.com/office/drawing/2014/main" id="{021BE228-66AE-6843-8E02-F38AB2654096}"/>
              </a:ext>
            </a:extLst>
          </p:cNvPr>
          <p:cNvSpPr>
            <a:spLocks noGrp="1"/>
          </p:cNvSpPr>
          <p:nvPr>
            <p:ph sz="quarter" idx="13" hasCustomPrompt="1"/>
          </p:nvPr>
        </p:nvSpPr>
        <p:spPr>
          <a:xfrm>
            <a:off x="4295273" y="1691640"/>
            <a:ext cx="360997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4" name="Content Placeholder 5">
            <a:extLst>
              <a:ext uri="{FF2B5EF4-FFF2-40B4-BE49-F238E27FC236}">
                <a16:creationId xmlns:a16="http://schemas.microsoft.com/office/drawing/2014/main" id="{9AB33A90-9E8D-1947-98FD-768EFEB80DE8}"/>
              </a:ext>
            </a:extLst>
          </p:cNvPr>
          <p:cNvSpPr>
            <a:spLocks noGrp="1"/>
          </p:cNvSpPr>
          <p:nvPr>
            <p:ph sz="quarter" idx="14" hasCustomPrompt="1"/>
          </p:nvPr>
        </p:nvSpPr>
        <p:spPr>
          <a:xfrm>
            <a:off x="8133346" y="1691640"/>
            <a:ext cx="3598406" cy="4315460"/>
          </a:xfrm>
        </p:spPr>
        <p:txBody>
          <a:bodyPr vert="horz" lIns="0" tIns="0" rIns="18288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 name="Text Placeholder 3">
            <a:extLst>
              <a:ext uri="{FF2B5EF4-FFF2-40B4-BE49-F238E27FC236}">
                <a16:creationId xmlns:a16="http://schemas.microsoft.com/office/drawing/2014/main" id="{E5D3B96A-BDBE-D9F1-E2C0-AD6CFDC6D545}"/>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7931177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ar Four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5CB2052-3245-174F-AC3A-24DE254967CC}"/>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7802702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p:txBody>
          <a:bodyPr/>
          <a:lstStyle/>
          <a:p>
            <a:r>
              <a:rPr lang="en-US" dirty="0"/>
              <a:t>Click to edit master title style</a:t>
            </a:r>
          </a:p>
        </p:txBody>
      </p:sp>
      <p:sp>
        <p:nvSpPr>
          <p:cNvPr id="12" name="Content Placeholder 3">
            <a:extLst>
              <a:ext uri="{FF2B5EF4-FFF2-40B4-BE49-F238E27FC236}">
                <a16:creationId xmlns:a16="http://schemas.microsoft.com/office/drawing/2014/main" id="{CEE01E8D-84E1-AD12-A782-E87DA9984AC7}"/>
              </a:ext>
            </a:extLst>
          </p:cNvPr>
          <p:cNvSpPr>
            <a:spLocks noGrp="1"/>
          </p:cNvSpPr>
          <p:nvPr>
            <p:ph sz="quarter" idx="21"/>
          </p:nvPr>
        </p:nvSpPr>
        <p:spPr>
          <a:xfrm>
            <a:off x="475443"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a:extLst>
              <a:ext uri="{FF2B5EF4-FFF2-40B4-BE49-F238E27FC236}">
                <a16:creationId xmlns:a16="http://schemas.microsoft.com/office/drawing/2014/main" id="{40A5DD05-C4B6-9843-A62D-C443760176FF}"/>
              </a:ext>
            </a:extLst>
          </p:cNvPr>
          <p:cNvSpPr>
            <a:spLocks noGrp="1"/>
          </p:cNvSpPr>
          <p:nvPr>
            <p:ph sz="quarter" idx="22"/>
          </p:nvPr>
        </p:nvSpPr>
        <p:spPr>
          <a:xfrm>
            <a:off x="3348289"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a:extLst>
              <a:ext uri="{FF2B5EF4-FFF2-40B4-BE49-F238E27FC236}">
                <a16:creationId xmlns:a16="http://schemas.microsoft.com/office/drawing/2014/main" id="{F93CE002-5F00-5D51-39E4-CDE4D7B5FA5E}"/>
              </a:ext>
            </a:extLst>
          </p:cNvPr>
          <p:cNvSpPr>
            <a:spLocks noGrp="1"/>
          </p:cNvSpPr>
          <p:nvPr>
            <p:ph sz="quarter" idx="23"/>
          </p:nvPr>
        </p:nvSpPr>
        <p:spPr>
          <a:xfrm>
            <a:off x="6221135"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a:extLst>
              <a:ext uri="{FF2B5EF4-FFF2-40B4-BE49-F238E27FC236}">
                <a16:creationId xmlns:a16="http://schemas.microsoft.com/office/drawing/2014/main" id="{545A1531-CBA7-6DF4-28FE-E74AA1D63197}"/>
              </a:ext>
            </a:extLst>
          </p:cNvPr>
          <p:cNvSpPr>
            <a:spLocks noGrp="1"/>
          </p:cNvSpPr>
          <p:nvPr>
            <p:ph sz="quarter" idx="24"/>
          </p:nvPr>
        </p:nvSpPr>
        <p:spPr>
          <a:xfrm>
            <a:off x="9093980" y="1691641"/>
            <a:ext cx="2640820" cy="4315460"/>
          </a:xfrm>
        </p:spPr>
        <p:txBody>
          <a:bodyPr rIns="182880"/>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vl6pPr>
              <a:spcBef>
                <a:spcPts val="1600"/>
              </a:spcBef>
              <a:defRPr sz="16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Placeholder 3">
            <a:extLst>
              <a:ext uri="{FF2B5EF4-FFF2-40B4-BE49-F238E27FC236}">
                <a16:creationId xmlns:a16="http://schemas.microsoft.com/office/drawing/2014/main" id="{682B0F9C-F359-AEAB-FF55-507B53BBD445}"/>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8819557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371851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8000">
                <a:solidFill>
                  <a:srgbClr val="5009B5"/>
                </a:solidFill>
                <a:latin typeface="+mj-lt"/>
              </a:defRPr>
            </a:lvl1pPr>
          </a:lstStyle>
          <a:p>
            <a:pPr lvl="0"/>
            <a:r>
              <a:rPr lang="en-US" dirty="0"/>
              <a:t>Thank you!</a:t>
            </a:r>
          </a:p>
        </p:txBody>
      </p:sp>
    </p:spTree>
    <p:extLst>
      <p:ext uri="{BB962C8B-B14F-4D97-AF65-F5344CB8AC3E}">
        <p14:creationId xmlns:p14="http://schemas.microsoft.com/office/powerpoint/2010/main" val="10749313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hank you Purple">
    <p:bg>
      <p:bgPr>
        <a:solidFill>
          <a:srgbClr val="5009B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2373867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8000">
                <a:solidFill>
                  <a:schemeClr val="bg1"/>
                </a:solidFill>
                <a:latin typeface="+mj-lt"/>
              </a:defRPr>
            </a:lvl1pPr>
          </a:lstStyle>
          <a:p>
            <a:pPr lvl="0"/>
            <a:r>
              <a:rPr lang="en-US" dirty="0"/>
              <a:t>Thank you!</a:t>
            </a:r>
          </a:p>
        </p:txBody>
      </p:sp>
      <p:pic>
        <p:nvPicPr>
          <p:cNvPr id="9" name="Graphic 8">
            <a:extLst>
              <a:ext uri="{FF2B5EF4-FFF2-40B4-BE49-F238E27FC236}">
                <a16:creationId xmlns:a16="http://schemas.microsoft.com/office/drawing/2014/main" id="{A2275E4F-1DD8-BD4C-839F-E0B290CCE1F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11" name="TextBox 10">
            <a:extLst>
              <a:ext uri="{FF2B5EF4-FFF2-40B4-BE49-F238E27FC236}">
                <a16:creationId xmlns:a16="http://schemas.microsoft.com/office/drawing/2014/main" id="{9FA824AD-9AF3-884E-A622-DF0B54F24716}"/>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Tree>
    <p:extLst>
      <p:ext uri="{BB962C8B-B14F-4D97-AF65-F5344CB8AC3E}">
        <p14:creationId xmlns:p14="http://schemas.microsoft.com/office/powerpoint/2010/main" val="19871279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urple Linear Supergraphic">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4240814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Arc 6">
            <a:extLst>
              <a:ext uri="{FF2B5EF4-FFF2-40B4-BE49-F238E27FC236}">
                <a16:creationId xmlns:a16="http://schemas.microsoft.com/office/drawing/2014/main" id="{620EC642-4CC9-DC4D-BE90-46572834EF99}"/>
              </a:ext>
            </a:extLst>
          </p:cNvPr>
          <p:cNvSpPr/>
          <p:nvPr/>
        </p:nvSpPr>
        <p:spPr>
          <a:xfrm rot="10800000">
            <a:off x="7700406" y="-5517141"/>
            <a:ext cx="8983187" cy="8983187"/>
          </a:xfrm>
          <a:prstGeom prst="arc">
            <a:avLst>
              <a:gd name="adj1" fmla="val 16200000"/>
              <a:gd name="adj2" fmla="val 20840015"/>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cxnSp>
        <p:nvCxnSpPr>
          <p:cNvPr id="8" name="Straight Connector 7">
            <a:extLst>
              <a:ext uri="{FF2B5EF4-FFF2-40B4-BE49-F238E27FC236}">
                <a16:creationId xmlns:a16="http://schemas.microsoft.com/office/drawing/2014/main" id="{FA9F3445-6864-B14F-A29E-23391F292240}"/>
              </a:ext>
            </a:extLst>
          </p:cNvPr>
          <p:cNvCxnSpPr>
            <a:cxnSpLocks/>
          </p:cNvCxnSpPr>
          <p:nvPr/>
        </p:nvCxnSpPr>
        <p:spPr>
          <a:xfrm>
            <a:off x="0" y="3466047"/>
            <a:ext cx="12192000" cy="0"/>
          </a:xfrm>
          <a:prstGeom prst="line">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0" name="Arc 9">
            <a:extLst>
              <a:ext uri="{FF2B5EF4-FFF2-40B4-BE49-F238E27FC236}">
                <a16:creationId xmlns:a16="http://schemas.microsoft.com/office/drawing/2014/main" id="{0635C588-6C55-2E43-BC88-265490E0DB15}"/>
              </a:ext>
            </a:extLst>
          </p:cNvPr>
          <p:cNvSpPr/>
          <p:nvPr/>
        </p:nvSpPr>
        <p:spPr>
          <a:xfrm rot="16200000">
            <a:off x="7700406" y="3466048"/>
            <a:ext cx="8983187" cy="8983187"/>
          </a:xfrm>
          <a:prstGeom prst="arc">
            <a:avLst>
              <a:gd name="adj1" fmla="val 17017882"/>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pic>
        <p:nvPicPr>
          <p:cNvPr id="15" name="Graphic 14">
            <a:extLst>
              <a:ext uri="{FF2B5EF4-FFF2-40B4-BE49-F238E27FC236}">
                <a16:creationId xmlns:a16="http://schemas.microsoft.com/office/drawing/2014/main" id="{38087043-B1C0-F448-917B-5850AF56263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15088" y="578424"/>
            <a:ext cx="1785575" cy="384339"/>
          </a:xfrm>
          <a:prstGeom prst="rect">
            <a:avLst/>
          </a:prstGeom>
        </p:spPr>
      </p:pic>
      <p:sp>
        <p:nvSpPr>
          <p:cNvPr id="17" name="Title 1">
            <a:extLst>
              <a:ext uri="{FF2B5EF4-FFF2-40B4-BE49-F238E27FC236}">
                <a16:creationId xmlns:a16="http://schemas.microsoft.com/office/drawing/2014/main" id="{589C51D4-69ED-7B4E-A17D-1AE8A998B922}"/>
              </a:ext>
            </a:extLst>
          </p:cNvPr>
          <p:cNvSpPr>
            <a:spLocks noGrp="1"/>
          </p:cNvSpPr>
          <p:nvPr>
            <p:ph type="ctrTitle" hasCustomPrompt="1"/>
          </p:nvPr>
        </p:nvSpPr>
        <p:spPr>
          <a:xfrm>
            <a:off x="457198" y="3759716"/>
            <a:ext cx="9366251" cy="622714"/>
          </a:xfrm>
        </p:spPr>
        <p:txBody>
          <a:bodyPr vert="horz" anchor="t"/>
          <a:lstStyle>
            <a:lvl1pPr algn="l">
              <a:defRPr sz="5000">
                <a:solidFill>
                  <a:schemeClr val="bg1"/>
                </a:solidFill>
              </a:defRPr>
            </a:lvl1pPr>
          </a:lstStyle>
          <a:p>
            <a:r>
              <a:rPr lang="en-US" dirty="0"/>
              <a:t>Click to add presentation title</a:t>
            </a:r>
          </a:p>
        </p:txBody>
      </p:sp>
      <p:sp>
        <p:nvSpPr>
          <p:cNvPr id="18" name="Subtitle 2">
            <a:extLst>
              <a:ext uri="{FF2B5EF4-FFF2-40B4-BE49-F238E27FC236}">
                <a16:creationId xmlns:a16="http://schemas.microsoft.com/office/drawing/2014/main" id="{302C2242-2804-EE44-ADAF-48FD023883FC}"/>
              </a:ext>
            </a:extLst>
          </p:cNvPr>
          <p:cNvSpPr>
            <a:spLocks noGrp="1"/>
          </p:cNvSpPr>
          <p:nvPr>
            <p:ph type="subTitle" idx="1" hasCustomPrompt="1"/>
          </p:nvPr>
        </p:nvSpPr>
        <p:spPr>
          <a:xfrm>
            <a:off x="457198" y="5382895"/>
            <a:ext cx="5650832" cy="228600"/>
          </a:xfrm>
          <a:prstGeom prst="rect">
            <a:avLst/>
          </a:prstGeo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9" name="Text Placeholder 11">
            <a:extLst>
              <a:ext uri="{FF2B5EF4-FFF2-40B4-BE49-F238E27FC236}">
                <a16:creationId xmlns:a16="http://schemas.microsoft.com/office/drawing/2014/main" id="{2B2F6DB0-6DE3-A540-B328-7DCA1A7E7232}"/>
              </a:ext>
            </a:extLst>
          </p:cNvPr>
          <p:cNvSpPr>
            <a:spLocks noGrp="1"/>
          </p:cNvSpPr>
          <p:nvPr>
            <p:ph type="body" sz="quarter" idx="11" hasCustomPrompt="1"/>
          </p:nvPr>
        </p:nvSpPr>
        <p:spPr>
          <a:xfrm>
            <a:off x="457198" y="5611495"/>
            <a:ext cx="5638800" cy="224536"/>
          </a:xfrm>
          <a:prstGeom prst="rect">
            <a:avLst/>
          </a:prstGeom>
        </p:spPr>
        <p:txBody>
          <a:bodyPr/>
          <a:lstStyle>
            <a:lvl1pPr marL="0" indent="0">
              <a:lnSpc>
                <a:spcPct val="100000"/>
              </a:lnSpc>
              <a:buNone/>
              <a:defRPr sz="1800" b="0" i="0">
                <a:solidFill>
                  <a:schemeClr val="bg1"/>
                </a:solidFill>
                <a:latin typeface="Elevance Sans" pitchFamily="2" charset="77"/>
              </a:defRPr>
            </a:lvl1pPr>
          </a:lstStyle>
          <a:p>
            <a:pPr lvl="0"/>
            <a:r>
              <a:rPr lang="en-US" dirty="0"/>
              <a:t>Click to add date</a:t>
            </a:r>
          </a:p>
        </p:txBody>
      </p:sp>
      <p:pic>
        <p:nvPicPr>
          <p:cNvPr id="13" name="Graphic 12">
            <a:extLst>
              <a:ext uri="{FF2B5EF4-FFF2-40B4-BE49-F238E27FC236}">
                <a16:creationId xmlns:a16="http://schemas.microsoft.com/office/drawing/2014/main" id="{37157042-8210-A28A-FF88-F7A53B439EAB}"/>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3341" y="578424"/>
            <a:ext cx="1785575" cy="384339"/>
          </a:xfrm>
          <a:prstGeom prst="rect">
            <a:avLst/>
          </a:prstGeom>
        </p:spPr>
      </p:pic>
    </p:spTree>
    <p:extLst>
      <p:ext uri="{BB962C8B-B14F-4D97-AF65-F5344CB8AC3E}">
        <p14:creationId xmlns:p14="http://schemas.microsoft.com/office/powerpoint/2010/main" val="609633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291589-CD70-D544-A42B-7CBFCA4D12B5}"/>
              </a:ext>
            </a:extLst>
          </p:cNvPr>
          <p:cNvGraphicFramePr>
            <a:graphicFrameLocks noChangeAspect="1"/>
          </p:cNvGraphicFramePr>
          <p:nvPr>
            <p:custDataLst>
              <p:tags r:id="rId1"/>
            </p:custDataLst>
            <p:extLst>
              <p:ext uri="{D42A27DB-BD31-4B8C-83A1-F6EECF244321}">
                <p14:modId xmlns:p14="http://schemas.microsoft.com/office/powerpoint/2010/main" val="14695310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84291589-CD70-D544-A42B-7CBFCA4D12B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46B48EC6-05B8-2A40-BD24-08137FEB8B5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858626" y="3162659"/>
            <a:ext cx="2474748" cy="532681"/>
          </a:xfrm>
          <a:prstGeom prst="rect">
            <a:avLst/>
          </a:prstGeom>
        </p:spPr>
      </p:pic>
    </p:spTree>
    <p:extLst>
      <p:ext uri="{BB962C8B-B14F-4D97-AF65-F5344CB8AC3E}">
        <p14:creationId xmlns:p14="http://schemas.microsoft.com/office/powerpoint/2010/main" val="35232315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Full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21101585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975EBB8B-1207-DF46-B0BB-2ECF56904B51}"/>
              </a:ext>
            </a:extLst>
          </p:cNvPr>
          <p:cNvSpPr>
            <a:spLocks noGrp="1"/>
          </p:cNvSpPr>
          <p:nvPr>
            <p:ph type="pic" sz="quarter" idx="10"/>
          </p:nvPr>
        </p:nvSpPr>
        <p:spPr>
          <a:xfrm>
            <a:off x="0" y="0"/>
            <a:ext cx="12192000" cy="6858000"/>
          </a:xfrm>
          <a:prstGeom prst="rect">
            <a:avLst/>
          </a:prstGeo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11" name="Text Placeholder 10">
            <a:extLst>
              <a:ext uri="{FF2B5EF4-FFF2-40B4-BE49-F238E27FC236}">
                <a16:creationId xmlns:a16="http://schemas.microsoft.com/office/drawing/2014/main" id="{A594C2A4-538B-4E49-80F8-EE4DD8A3842A}"/>
              </a:ext>
            </a:extLst>
          </p:cNvPr>
          <p:cNvSpPr>
            <a:spLocks noGrp="1"/>
          </p:cNvSpPr>
          <p:nvPr>
            <p:ph type="body" sz="quarter" idx="13"/>
          </p:nvPr>
        </p:nvSpPr>
        <p:spPr>
          <a:xfrm>
            <a:off x="0" y="0"/>
            <a:ext cx="12192000" cy="6858000"/>
          </a:xfrm>
          <a:gradFill>
            <a:gsLst>
              <a:gs pos="0">
                <a:srgbClr val="000000">
                  <a:alpha val="34000"/>
                </a:srgbClr>
              </a:gs>
              <a:gs pos="71000">
                <a:srgbClr val="000000">
                  <a:alpha val="0"/>
                </a:srgbClr>
              </a:gs>
            </a:gsLst>
            <a:lin ang="0" scaled="0"/>
          </a:gradFill>
        </p:spPr>
        <p:txBody>
          <a:bodyPr/>
          <a:lstStyle>
            <a:lvl1pPr>
              <a:defRPr sz="100">
                <a:solidFill>
                  <a:schemeClr val="bg1">
                    <a:alpha val="0"/>
                  </a:schemeClr>
                </a:solidFill>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10307" y="4517136"/>
            <a:ext cx="5650832" cy="228600"/>
          </a:xfrm>
          <a:prstGeom prst="rect">
            <a:avLst/>
          </a:prstGeo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ext Placeholder 11">
            <a:extLst>
              <a:ext uri="{FF2B5EF4-FFF2-40B4-BE49-F238E27FC236}">
                <a16:creationId xmlns:a16="http://schemas.microsoft.com/office/drawing/2014/main" id="{888294A5-A4D0-A14B-A725-86332813F126}"/>
              </a:ext>
            </a:extLst>
          </p:cNvPr>
          <p:cNvSpPr>
            <a:spLocks noGrp="1"/>
          </p:cNvSpPr>
          <p:nvPr>
            <p:ph type="body" sz="quarter" idx="11" hasCustomPrompt="1"/>
          </p:nvPr>
        </p:nvSpPr>
        <p:spPr>
          <a:xfrm>
            <a:off x="410307" y="4758997"/>
            <a:ext cx="5638800" cy="224536"/>
          </a:xfrm>
          <a:prstGeom prst="rect">
            <a:avLst/>
          </a:prstGeom>
        </p:spPr>
        <p:txBody>
          <a:bodyPr/>
          <a:lstStyle>
            <a:lvl1pPr marL="0" indent="0">
              <a:lnSpc>
                <a:spcPct val="100000"/>
              </a:lnSpc>
              <a:buNone/>
              <a:defRPr sz="1800" b="0" i="0">
                <a:solidFill>
                  <a:schemeClr val="bg1"/>
                </a:solidFill>
                <a:latin typeface="Elevance Sans" pitchFamily="2" charset="77"/>
              </a:defRPr>
            </a:lvl1pPr>
          </a:lstStyle>
          <a:p>
            <a:pPr lvl="0"/>
            <a:r>
              <a:rPr lang="en-US" dirty="0"/>
              <a:t>Click to add date</a:t>
            </a:r>
          </a:p>
        </p:txBody>
      </p:sp>
      <p:sp>
        <p:nvSpPr>
          <p:cNvPr id="10" name="Title 1">
            <a:extLst>
              <a:ext uri="{FF2B5EF4-FFF2-40B4-BE49-F238E27FC236}">
                <a16:creationId xmlns:a16="http://schemas.microsoft.com/office/drawing/2014/main" id="{5CEDBC19-C442-234E-A082-5522435460F1}"/>
              </a:ext>
            </a:extLst>
          </p:cNvPr>
          <p:cNvSpPr>
            <a:spLocks noGrp="1"/>
          </p:cNvSpPr>
          <p:nvPr>
            <p:ph type="ctrTitle" hasCustomPrompt="1"/>
          </p:nvPr>
        </p:nvSpPr>
        <p:spPr>
          <a:xfrm>
            <a:off x="410307" y="2587226"/>
            <a:ext cx="8354282" cy="1572610"/>
          </a:xfrm>
        </p:spPr>
        <p:txBody>
          <a:bodyPr vert="horz" anchor="b" anchorCtr="0"/>
          <a:lstStyle>
            <a:lvl1pPr algn="l">
              <a:defRPr sz="5200">
                <a:solidFill>
                  <a:schemeClr val="bg1"/>
                </a:solidFill>
              </a:defRPr>
            </a:lvl1pPr>
          </a:lstStyle>
          <a:p>
            <a:r>
              <a:rPr lang="en-US" dirty="0"/>
              <a:t>Click to add </a:t>
            </a:r>
            <a:br>
              <a:rPr lang="en-US" dirty="0"/>
            </a:br>
            <a:r>
              <a:rPr lang="en-US" dirty="0"/>
              <a:t>presentation title</a:t>
            </a:r>
          </a:p>
        </p:txBody>
      </p:sp>
      <p:sp>
        <p:nvSpPr>
          <p:cNvPr id="9" name="Text Placeholder 8">
            <a:extLst>
              <a:ext uri="{FF2B5EF4-FFF2-40B4-BE49-F238E27FC236}">
                <a16:creationId xmlns:a16="http://schemas.microsoft.com/office/drawing/2014/main" id="{932CDF93-DAF8-4DC2-6B85-64C5B49A0D23}"/>
              </a:ext>
            </a:extLst>
          </p:cNvPr>
          <p:cNvSpPr>
            <a:spLocks noGrp="1"/>
          </p:cNvSpPr>
          <p:nvPr>
            <p:ph type="body" sz="quarter" idx="14"/>
          </p:nvPr>
        </p:nvSpPr>
        <p:spPr>
          <a:xfrm>
            <a:off x="10000228" y="578183"/>
            <a:ext cx="1778688" cy="383935"/>
          </a:xfrm>
          <a:custGeom>
            <a:avLst/>
            <a:gdLst>
              <a:gd name="connsiteX0" fmla="*/ 1758931 w 1778688"/>
              <a:gd name="connsiteY0" fmla="*/ 270064 h 383935"/>
              <a:gd name="connsiteX1" fmla="*/ 1765112 w 1778688"/>
              <a:gd name="connsiteY1" fmla="*/ 270064 h 383935"/>
              <a:gd name="connsiteX2" fmla="*/ 1768824 w 1778688"/>
              <a:gd name="connsiteY2" fmla="*/ 284017 h 383935"/>
              <a:gd name="connsiteX3" fmla="*/ 1772493 w 1778688"/>
              <a:gd name="connsiteY3" fmla="*/ 270064 h 383935"/>
              <a:gd name="connsiteX4" fmla="*/ 1778688 w 1778688"/>
              <a:gd name="connsiteY4" fmla="*/ 270064 h 383935"/>
              <a:gd name="connsiteX5" fmla="*/ 1778688 w 1778688"/>
              <a:gd name="connsiteY5" fmla="*/ 290519 h 383935"/>
              <a:gd name="connsiteX6" fmla="*/ 1774851 w 1778688"/>
              <a:gd name="connsiteY6" fmla="*/ 290519 h 383935"/>
              <a:gd name="connsiteX7" fmla="*/ 1774851 w 1778688"/>
              <a:gd name="connsiteY7" fmla="*/ 274418 h 383935"/>
              <a:gd name="connsiteX8" fmla="*/ 1770791 w 1778688"/>
              <a:gd name="connsiteY8" fmla="*/ 290519 h 383935"/>
              <a:gd name="connsiteX9" fmla="*/ 1766815 w 1778688"/>
              <a:gd name="connsiteY9" fmla="*/ 290519 h 383935"/>
              <a:gd name="connsiteX10" fmla="*/ 1762768 w 1778688"/>
              <a:gd name="connsiteY10" fmla="*/ 274418 h 383935"/>
              <a:gd name="connsiteX11" fmla="*/ 1762768 w 1778688"/>
              <a:gd name="connsiteY11" fmla="*/ 290519 h 383935"/>
              <a:gd name="connsiteX12" fmla="*/ 1758931 w 1778688"/>
              <a:gd name="connsiteY12" fmla="*/ 290519 h 383935"/>
              <a:gd name="connsiteX13" fmla="*/ 1747095 w 1778688"/>
              <a:gd name="connsiteY13" fmla="*/ 269716 h 383935"/>
              <a:gd name="connsiteX14" fmla="*/ 1752892 w 1778688"/>
              <a:gd name="connsiteY14" fmla="*/ 271404 h 383935"/>
              <a:gd name="connsiteX15" fmla="*/ 1754936 w 1778688"/>
              <a:gd name="connsiteY15" fmla="*/ 275911 h 383935"/>
              <a:gd name="connsiteX16" fmla="*/ 1750806 w 1778688"/>
              <a:gd name="connsiteY16" fmla="*/ 276092 h 383935"/>
              <a:gd name="connsiteX17" fmla="*/ 1749669 w 1778688"/>
              <a:gd name="connsiteY17" fmla="*/ 273825 h 383935"/>
              <a:gd name="connsiteX18" fmla="*/ 1747053 w 1778688"/>
              <a:gd name="connsiteY18" fmla="*/ 273134 h 383935"/>
              <a:gd name="connsiteX19" fmla="*/ 1744234 w 1778688"/>
              <a:gd name="connsiteY19" fmla="*/ 273874 h 383935"/>
              <a:gd name="connsiteX20" fmla="*/ 1743579 w 1778688"/>
              <a:gd name="connsiteY20" fmla="*/ 275143 h 383935"/>
              <a:gd name="connsiteX21" fmla="*/ 1744193 w 1778688"/>
              <a:gd name="connsiteY21" fmla="*/ 276385 h 383935"/>
              <a:gd name="connsiteX22" fmla="*/ 1747988 w 1778688"/>
              <a:gd name="connsiteY22" fmla="*/ 277752 h 383935"/>
              <a:gd name="connsiteX23" fmla="*/ 1752446 w 1778688"/>
              <a:gd name="connsiteY23" fmla="*/ 279224 h 383935"/>
              <a:gd name="connsiteX24" fmla="*/ 1754706 w 1778688"/>
              <a:gd name="connsiteY24" fmla="*/ 281303 h 383935"/>
              <a:gd name="connsiteX25" fmla="*/ 1755522 w 1778688"/>
              <a:gd name="connsiteY25" fmla="*/ 284561 h 383935"/>
              <a:gd name="connsiteX26" fmla="*/ 1754545 w 1778688"/>
              <a:gd name="connsiteY26" fmla="*/ 287854 h 383935"/>
              <a:gd name="connsiteX27" fmla="*/ 1751783 w 1778688"/>
              <a:gd name="connsiteY27" fmla="*/ 290135 h 383935"/>
              <a:gd name="connsiteX28" fmla="*/ 1747332 w 1778688"/>
              <a:gd name="connsiteY28" fmla="*/ 290882 h 383935"/>
              <a:gd name="connsiteX29" fmla="*/ 1741374 w 1778688"/>
              <a:gd name="connsiteY29" fmla="*/ 289089 h 383935"/>
              <a:gd name="connsiteX30" fmla="*/ 1738891 w 1778688"/>
              <a:gd name="connsiteY30" fmla="*/ 283864 h 383935"/>
              <a:gd name="connsiteX31" fmla="*/ 1742909 w 1778688"/>
              <a:gd name="connsiteY31" fmla="*/ 283473 h 383935"/>
              <a:gd name="connsiteX32" fmla="*/ 1744381 w 1778688"/>
              <a:gd name="connsiteY32" fmla="*/ 286445 h 383935"/>
              <a:gd name="connsiteX33" fmla="*/ 1747374 w 1778688"/>
              <a:gd name="connsiteY33" fmla="*/ 287394 h 383935"/>
              <a:gd name="connsiteX34" fmla="*/ 1750381 w 1778688"/>
              <a:gd name="connsiteY34" fmla="*/ 286550 h 383935"/>
              <a:gd name="connsiteX35" fmla="*/ 1751392 w 1778688"/>
              <a:gd name="connsiteY35" fmla="*/ 284575 h 383935"/>
              <a:gd name="connsiteX36" fmla="*/ 1750967 w 1778688"/>
              <a:gd name="connsiteY36" fmla="*/ 283340 h 383935"/>
              <a:gd name="connsiteX37" fmla="*/ 1749481 w 1778688"/>
              <a:gd name="connsiteY37" fmla="*/ 282454 h 383935"/>
              <a:gd name="connsiteX38" fmla="*/ 1746174 w 1778688"/>
              <a:gd name="connsiteY38" fmla="*/ 281561 h 383935"/>
              <a:gd name="connsiteX39" fmla="*/ 1741514 w 1778688"/>
              <a:gd name="connsiteY39" fmla="*/ 279538 h 383935"/>
              <a:gd name="connsiteX40" fmla="*/ 1739630 w 1778688"/>
              <a:gd name="connsiteY40" fmla="*/ 275422 h 383935"/>
              <a:gd name="connsiteX41" fmla="*/ 1740516 w 1778688"/>
              <a:gd name="connsiteY41" fmla="*/ 272499 h 383935"/>
              <a:gd name="connsiteX42" fmla="*/ 1743069 w 1778688"/>
              <a:gd name="connsiteY42" fmla="*/ 270427 h 383935"/>
              <a:gd name="connsiteX43" fmla="*/ 1747095 w 1778688"/>
              <a:gd name="connsiteY43" fmla="*/ 269716 h 383935"/>
              <a:gd name="connsiteX44" fmla="*/ 1415465 w 1778688"/>
              <a:gd name="connsiteY44" fmla="*/ 138005 h 383935"/>
              <a:gd name="connsiteX45" fmla="*/ 1361597 w 1778688"/>
              <a:gd name="connsiteY45" fmla="*/ 195655 h 383935"/>
              <a:gd name="connsiteX46" fmla="*/ 1415465 w 1778688"/>
              <a:gd name="connsiteY46" fmla="*/ 253724 h 383935"/>
              <a:gd name="connsiteX47" fmla="*/ 1468492 w 1778688"/>
              <a:gd name="connsiteY47" fmla="*/ 195655 h 383935"/>
              <a:gd name="connsiteX48" fmla="*/ 1415465 w 1778688"/>
              <a:gd name="connsiteY48" fmla="*/ 138005 h 383935"/>
              <a:gd name="connsiteX49" fmla="*/ 743459 w 1778688"/>
              <a:gd name="connsiteY49" fmla="*/ 138005 h 383935"/>
              <a:gd name="connsiteX50" fmla="*/ 689592 w 1778688"/>
              <a:gd name="connsiteY50" fmla="*/ 195655 h 383935"/>
              <a:gd name="connsiteX51" fmla="*/ 743459 w 1778688"/>
              <a:gd name="connsiteY51" fmla="*/ 253724 h 383935"/>
              <a:gd name="connsiteX52" fmla="*/ 796486 w 1778688"/>
              <a:gd name="connsiteY52" fmla="*/ 195655 h 383935"/>
              <a:gd name="connsiteX53" fmla="*/ 743459 w 1778688"/>
              <a:gd name="connsiteY53" fmla="*/ 138005 h 383935"/>
              <a:gd name="connsiteX54" fmla="*/ 262734 w 1778688"/>
              <a:gd name="connsiteY54" fmla="*/ 137498 h 383935"/>
              <a:gd name="connsiteX55" fmla="*/ 274738 w 1778688"/>
              <a:gd name="connsiteY55" fmla="*/ 143636 h 383935"/>
              <a:gd name="connsiteX56" fmla="*/ 293344 w 1778688"/>
              <a:gd name="connsiteY56" fmla="*/ 146913 h 383935"/>
              <a:gd name="connsiteX57" fmla="*/ 274648 w 1778688"/>
              <a:gd name="connsiteY57" fmla="*/ 191961 h 383935"/>
              <a:gd name="connsiteX58" fmla="*/ 279029 w 1778688"/>
              <a:gd name="connsiteY58" fmla="*/ 199767 h 383935"/>
              <a:gd name="connsiteX59" fmla="*/ 293434 w 1778688"/>
              <a:gd name="connsiteY59" fmla="*/ 198665 h 383935"/>
              <a:gd name="connsiteX60" fmla="*/ 308889 w 1778688"/>
              <a:gd name="connsiteY60" fmla="*/ 199946 h 383935"/>
              <a:gd name="connsiteX61" fmla="*/ 385447 w 1778688"/>
              <a:gd name="connsiteY61" fmla="*/ 306637 h 383935"/>
              <a:gd name="connsiteX62" fmla="*/ 277979 w 1778688"/>
              <a:gd name="connsiteY62" fmla="*/ 382641 h 383935"/>
              <a:gd name="connsiteX63" fmla="*/ 201424 w 1778688"/>
              <a:gd name="connsiteY63" fmla="*/ 275950 h 383935"/>
              <a:gd name="connsiteX64" fmla="*/ 238756 w 1778688"/>
              <a:gd name="connsiteY64" fmla="*/ 291204 h 383935"/>
              <a:gd name="connsiteX65" fmla="*/ 248297 w 1778688"/>
              <a:gd name="connsiteY65" fmla="*/ 321925 h 383935"/>
              <a:gd name="connsiteX66" fmla="*/ 324254 w 1778688"/>
              <a:gd name="connsiteY66" fmla="*/ 336080 h 383935"/>
              <a:gd name="connsiteX67" fmla="*/ 338512 w 1778688"/>
              <a:gd name="connsiteY67" fmla="*/ 260669 h 383935"/>
              <a:gd name="connsiteX68" fmla="*/ 262554 w 1778688"/>
              <a:gd name="connsiteY68" fmla="*/ 246514 h 383935"/>
              <a:gd name="connsiteX69" fmla="*/ 240077 w 1778688"/>
              <a:gd name="connsiteY69" fmla="*/ 191961 h 383935"/>
              <a:gd name="connsiteX70" fmla="*/ 1113718 w 1778688"/>
              <a:gd name="connsiteY70" fmla="*/ 133387 h 383935"/>
              <a:gd name="connsiteX71" fmla="*/ 1064532 w 1778688"/>
              <a:gd name="connsiteY71" fmla="*/ 176439 h 383935"/>
              <a:gd name="connsiteX72" fmla="*/ 1161733 w 1778688"/>
              <a:gd name="connsiteY72" fmla="*/ 176439 h 383935"/>
              <a:gd name="connsiteX73" fmla="*/ 1113718 w 1778688"/>
              <a:gd name="connsiteY73" fmla="*/ 133387 h 383935"/>
              <a:gd name="connsiteX74" fmla="*/ 1651972 w 1778688"/>
              <a:gd name="connsiteY74" fmla="*/ 89947 h 383935"/>
              <a:gd name="connsiteX75" fmla="*/ 1728556 w 1778688"/>
              <a:gd name="connsiteY75" fmla="*/ 174770 h 383935"/>
              <a:gd name="connsiteX76" fmla="*/ 1728556 w 1778688"/>
              <a:gd name="connsiteY76" fmla="*/ 295911 h 383935"/>
              <a:gd name="connsiteX77" fmla="*/ 1677210 w 1778688"/>
              <a:gd name="connsiteY77" fmla="*/ 295911 h 383935"/>
              <a:gd name="connsiteX78" fmla="*/ 1677210 w 1778688"/>
              <a:gd name="connsiteY78" fmla="*/ 182278 h 383935"/>
              <a:gd name="connsiteX79" fmla="*/ 1636397 w 1778688"/>
              <a:gd name="connsiteY79" fmla="*/ 138005 h 383935"/>
              <a:gd name="connsiteX80" fmla="*/ 1595163 w 1778688"/>
              <a:gd name="connsiteY80" fmla="*/ 182278 h 383935"/>
              <a:gd name="connsiteX81" fmla="*/ 1595163 w 1778688"/>
              <a:gd name="connsiteY81" fmla="*/ 295911 h 383935"/>
              <a:gd name="connsiteX82" fmla="*/ 1543817 w 1778688"/>
              <a:gd name="connsiteY82" fmla="*/ 295911 h 383935"/>
              <a:gd name="connsiteX83" fmla="*/ 1543817 w 1778688"/>
              <a:gd name="connsiteY83" fmla="*/ 95787 h 383935"/>
              <a:gd name="connsiteX84" fmla="*/ 1595163 w 1778688"/>
              <a:gd name="connsiteY84" fmla="*/ 95787 h 383935"/>
              <a:gd name="connsiteX85" fmla="*/ 1595163 w 1778688"/>
              <a:gd name="connsiteY85" fmla="*/ 115421 h 383935"/>
              <a:gd name="connsiteX86" fmla="*/ 1651972 w 1778688"/>
              <a:gd name="connsiteY86" fmla="*/ 89947 h 383935"/>
              <a:gd name="connsiteX87" fmla="*/ 1415045 w 1778688"/>
              <a:gd name="connsiteY87" fmla="*/ 89947 h 383935"/>
              <a:gd name="connsiteX88" fmla="*/ 1520259 w 1778688"/>
              <a:gd name="connsiteY88" fmla="*/ 196073 h 383935"/>
              <a:gd name="connsiteX89" fmla="*/ 1415168 w 1778688"/>
              <a:gd name="connsiteY89" fmla="*/ 301781 h 383935"/>
              <a:gd name="connsiteX90" fmla="*/ 1415045 w 1778688"/>
              <a:gd name="connsiteY90" fmla="*/ 301781 h 383935"/>
              <a:gd name="connsiteX91" fmla="*/ 1310281 w 1778688"/>
              <a:gd name="connsiteY91" fmla="*/ 196073 h 383935"/>
              <a:gd name="connsiteX92" fmla="*/ 1415045 w 1778688"/>
              <a:gd name="connsiteY92" fmla="*/ 89947 h 383935"/>
              <a:gd name="connsiteX93" fmla="*/ 1112908 w 1778688"/>
              <a:gd name="connsiteY93" fmla="*/ 89947 h 383935"/>
              <a:gd name="connsiteX94" fmla="*/ 1214340 w 1778688"/>
              <a:gd name="connsiteY94" fmla="*/ 191902 h 383935"/>
              <a:gd name="connsiteX95" fmla="*/ 1213080 w 1778688"/>
              <a:gd name="connsiteY95" fmla="*/ 208616 h 383935"/>
              <a:gd name="connsiteX96" fmla="*/ 1063692 w 1778688"/>
              <a:gd name="connsiteY96" fmla="*/ 208616 h 383935"/>
              <a:gd name="connsiteX97" fmla="*/ 1121340 w 1778688"/>
              <a:gd name="connsiteY97" fmla="*/ 256643 h 383935"/>
              <a:gd name="connsiteX98" fmla="*/ 1170586 w 1778688"/>
              <a:gd name="connsiteY98" fmla="*/ 235788 h 383935"/>
              <a:gd name="connsiteX99" fmla="*/ 1197085 w 1778688"/>
              <a:gd name="connsiteY99" fmla="*/ 270468 h 383935"/>
              <a:gd name="connsiteX100" fmla="*/ 1119240 w 1778688"/>
              <a:gd name="connsiteY100" fmla="*/ 301811 h 383935"/>
              <a:gd name="connsiteX101" fmla="*/ 1011085 w 1778688"/>
              <a:gd name="connsiteY101" fmla="*/ 196073 h 383935"/>
              <a:gd name="connsiteX102" fmla="*/ 1112908 w 1778688"/>
              <a:gd name="connsiteY102" fmla="*/ 89947 h 383935"/>
              <a:gd name="connsiteX103" fmla="*/ 735056 w 1778688"/>
              <a:gd name="connsiteY103" fmla="*/ 89947 h 383935"/>
              <a:gd name="connsiteX104" fmla="*/ 796486 w 1778688"/>
              <a:gd name="connsiteY104" fmla="*/ 115838 h 383935"/>
              <a:gd name="connsiteX105" fmla="*/ 796486 w 1778688"/>
              <a:gd name="connsiteY105" fmla="*/ 95787 h 383935"/>
              <a:gd name="connsiteX106" fmla="*/ 848253 w 1778688"/>
              <a:gd name="connsiteY106" fmla="*/ 95787 h 383935"/>
              <a:gd name="connsiteX107" fmla="*/ 848253 w 1778688"/>
              <a:gd name="connsiteY107" fmla="*/ 295911 h 383935"/>
              <a:gd name="connsiteX108" fmla="*/ 796486 w 1778688"/>
              <a:gd name="connsiteY108" fmla="*/ 295911 h 383935"/>
              <a:gd name="connsiteX109" fmla="*/ 796486 w 1778688"/>
              <a:gd name="connsiteY109" fmla="*/ 274192 h 383935"/>
              <a:gd name="connsiteX110" fmla="*/ 735056 w 1778688"/>
              <a:gd name="connsiteY110" fmla="*/ 301781 h 383935"/>
              <a:gd name="connsiteX111" fmla="*/ 638245 w 1778688"/>
              <a:gd name="connsiteY111" fmla="*/ 196073 h 383935"/>
              <a:gd name="connsiteX112" fmla="*/ 735056 w 1778688"/>
              <a:gd name="connsiteY112" fmla="*/ 89947 h 383935"/>
              <a:gd name="connsiteX113" fmla="*/ 556409 w 1778688"/>
              <a:gd name="connsiteY113" fmla="*/ 89947 h 383935"/>
              <a:gd name="connsiteX114" fmla="*/ 635935 w 1778688"/>
              <a:gd name="connsiteY114" fmla="*/ 120039 h 383935"/>
              <a:gd name="connsiteX115" fmla="*/ 606465 w 1778688"/>
              <a:gd name="connsiteY115" fmla="*/ 156387 h 383935"/>
              <a:gd name="connsiteX116" fmla="*/ 558930 w 1778688"/>
              <a:gd name="connsiteY116" fmla="*/ 138005 h 383935"/>
              <a:gd name="connsiteX117" fmla="*/ 502542 w 1778688"/>
              <a:gd name="connsiteY117" fmla="*/ 195655 h 383935"/>
              <a:gd name="connsiteX118" fmla="*/ 558510 w 1778688"/>
              <a:gd name="connsiteY118" fmla="*/ 253724 h 383935"/>
              <a:gd name="connsiteX119" fmla="*/ 608146 w 1778688"/>
              <a:gd name="connsiteY119" fmla="*/ 234089 h 383935"/>
              <a:gd name="connsiteX120" fmla="*/ 634254 w 1778688"/>
              <a:gd name="connsiteY120" fmla="*/ 271689 h 383935"/>
              <a:gd name="connsiteX121" fmla="*/ 557249 w 1778688"/>
              <a:gd name="connsiteY121" fmla="*/ 301781 h 383935"/>
              <a:gd name="connsiteX122" fmla="*/ 451192 w 1778688"/>
              <a:gd name="connsiteY122" fmla="*/ 197148 h 383935"/>
              <a:gd name="connsiteX123" fmla="*/ 451195 w 1778688"/>
              <a:gd name="connsiteY123" fmla="*/ 196073 h 383935"/>
              <a:gd name="connsiteX124" fmla="*/ 556409 w 1778688"/>
              <a:gd name="connsiteY124" fmla="*/ 89947 h 383935"/>
              <a:gd name="connsiteX125" fmla="*/ 985847 w 1778688"/>
              <a:gd name="connsiteY125" fmla="*/ 89888 h 383935"/>
              <a:gd name="connsiteX126" fmla="*/ 1018258 w 1778688"/>
              <a:gd name="connsiteY126" fmla="*/ 99928 h 383935"/>
              <a:gd name="connsiteX127" fmla="*/ 996771 w 1778688"/>
              <a:gd name="connsiteY127" fmla="*/ 148373 h 383935"/>
              <a:gd name="connsiteX128" fmla="*/ 970272 w 1778688"/>
              <a:gd name="connsiteY128" fmla="*/ 139613 h 383935"/>
              <a:gd name="connsiteX129" fmla="*/ 936602 w 1778688"/>
              <a:gd name="connsiteY129" fmla="*/ 183887 h 383935"/>
              <a:gd name="connsiteX130" fmla="*/ 936602 w 1778688"/>
              <a:gd name="connsiteY130" fmla="*/ 295911 h 383935"/>
              <a:gd name="connsiteX131" fmla="*/ 885285 w 1778688"/>
              <a:gd name="connsiteY131" fmla="*/ 295911 h 383935"/>
              <a:gd name="connsiteX132" fmla="*/ 885285 w 1778688"/>
              <a:gd name="connsiteY132" fmla="*/ 95787 h 383935"/>
              <a:gd name="connsiteX133" fmla="*/ 936602 w 1778688"/>
              <a:gd name="connsiteY133" fmla="*/ 95787 h 383935"/>
              <a:gd name="connsiteX134" fmla="*/ 936602 w 1778688"/>
              <a:gd name="connsiteY134" fmla="*/ 117477 h 383935"/>
              <a:gd name="connsiteX135" fmla="*/ 985847 w 1778688"/>
              <a:gd name="connsiteY135" fmla="*/ 89888 h 383935"/>
              <a:gd name="connsiteX136" fmla="*/ 1235377 w 1778688"/>
              <a:gd name="connsiteY136" fmla="*/ 8491 h 383935"/>
              <a:gd name="connsiteX137" fmla="*/ 1286724 w 1778688"/>
              <a:gd name="connsiteY137" fmla="*/ 8491 h 383935"/>
              <a:gd name="connsiteX138" fmla="*/ 1286724 w 1778688"/>
              <a:gd name="connsiteY138" fmla="*/ 295912 h 383935"/>
              <a:gd name="connsiteX139" fmla="*/ 1235377 w 1778688"/>
              <a:gd name="connsiteY139" fmla="*/ 295912 h 383935"/>
              <a:gd name="connsiteX140" fmla="*/ 93300 w 1778688"/>
              <a:gd name="connsiteY140" fmla="*/ 0 h 383935"/>
              <a:gd name="connsiteX141" fmla="*/ 93300 w 1778688"/>
              <a:gd name="connsiteY141" fmla="*/ 30 h 383935"/>
              <a:gd name="connsiteX142" fmla="*/ 109343 w 1778688"/>
              <a:gd name="connsiteY142" fmla="*/ 1359 h 383935"/>
              <a:gd name="connsiteX143" fmla="*/ 184225 w 1778688"/>
              <a:gd name="connsiteY143" fmla="*/ 71343 h 383935"/>
              <a:gd name="connsiteX144" fmla="*/ 185309 w 1778688"/>
              <a:gd name="connsiteY144" fmla="*/ 107978 h 383935"/>
              <a:gd name="connsiteX145" fmla="*/ 193382 w 1778688"/>
              <a:gd name="connsiteY145" fmla="*/ 111280 h 383935"/>
              <a:gd name="connsiteX146" fmla="*/ 201244 w 1778688"/>
              <a:gd name="connsiteY146" fmla="*/ 106930 h 383935"/>
              <a:gd name="connsiteX147" fmla="*/ 200134 w 1778688"/>
              <a:gd name="connsiteY147" fmla="*/ 92629 h 383935"/>
              <a:gd name="connsiteX148" fmla="*/ 293434 w 1778688"/>
              <a:gd name="connsiteY148" fmla="*/ 0 h 383935"/>
              <a:gd name="connsiteX149" fmla="*/ 293434 w 1778688"/>
              <a:gd name="connsiteY149" fmla="*/ 149 h 383935"/>
              <a:gd name="connsiteX150" fmla="*/ 308877 w 1778688"/>
              <a:gd name="connsiteY150" fmla="*/ 1431 h 383935"/>
              <a:gd name="connsiteX151" fmla="*/ 385423 w 1778688"/>
              <a:gd name="connsiteY151" fmla="*/ 108131 h 383935"/>
              <a:gd name="connsiteX152" fmla="*/ 277949 w 1778688"/>
              <a:gd name="connsiteY152" fmla="*/ 184126 h 383935"/>
              <a:gd name="connsiteX153" fmla="*/ 293344 w 1778688"/>
              <a:gd name="connsiteY153" fmla="*/ 147062 h 383935"/>
              <a:gd name="connsiteX154" fmla="*/ 324287 w 1778688"/>
              <a:gd name="connsiteY154" fmla="*/ 137591 h 383935"/>
              <a:gd name="connsiteX155" fmla="*/ 338544 w 1778688"/>
              <a:gd name="connsiteY155" fmla="*/ 62180 h 383935"/>
              <a:gd name="connsiteX156" fmla="*/ 262587 w 1778688"/>
              <a:gd name="connsiteY156" fmla="*/ 48025 h 383935"/>
              <a:gd name="connsiteX157" fmla="*/ 248329 w 1778688"/>
              <a:gd name="connsiteY157" fmla="*/ 123436 h 383935"/>
              <a:gd name="connsiteX158" fmla="*/ 193382 w 1778688"/>
              <a:gd name="connsiteY158" fmla="*/ 145602 h 383935"/>
              <a:gd name="connsiteX159" fmla="*/ 138524 w 1778688"/>
              <a:gd name="connsiteY159" fmla="*/ 123168 h 383935"/>
              <a:gd name="connsiteX160" fmla="*/ 148003 w 1778688"/>
              <a:gd name="connsiteY160" fmla="*/ 92731 h 383935"/>
              <a:gd name="connsiteX161" fmla="*/ 138468 w 1778688"/>
              <a:gd name="connsiteY161" fmla="*/ 62028 h 383935"/>
              <a:gd name="connsiteX162" fmla="*/ 62510 w 1778688"/>
              <a:gd name="connsiteY162" fmla="*/ 47873 h 383935"/>
              <a:gd name="connsiteX163" fmla="*/ 48253 w 1778688"/>
              <a:gd name="connsiteY163" fmla="*/ 123284 h 383935"/>
              <a:gd name="connsiteX164" fmla="*/ 124210 w 1778688"/>
              <a:gd name="connsiteY164" fmla="*/ 137439 h 383935"/>
              <a:gd name="connsiteX165" fmla="*/ 146657 w 1778688"/>
              <a:gd name="connsiteY165" fmla="*/ 191961 h 383935"/>
              <a:gd name="connsiteX166" fmla="*/ 124000 w 1778688"/>
              <a:gd name="connsiteY166" fmla="*/ 246424 h 383935"/>
              <a:gd name="connsiteX167" fmla="*/ 111996 w 1778688"/>
              <a:gd name="connsiteY167" fmla="*/ 240287 h 383935"/>
              <a:gd name="connsiteX168" fmla="*/ 93390 w 1778688"/>
              <a:gd name="connsiteY168" fmla="*/ 237009 h 383935"/>
              <a:gd name="connsiteX169" fmla="*/ 62447 w 1778688"/>
              <a:gd name="connsiteY169" fmla="*/ 246480 h 383935"/>
              <a:gd name="connsiteX170" fmla="*/ 48189 w 1778688"/>
              <a:gd name="connsiteY170" fmla="*/ 321891 h 383935"/>
              <a:gd name="connsiteX171" fmla="*/ 124147 w 1778688"/>
              <a:gd name="connsiteY171" fmla="*/ 336046 h 383935"/>
              <a:gd name="connsiteX172" fmla="*/ 138404 w 1778688"/>
              <a:gd name="connsiteY172" fmla="*/ 260635 h 383935"/>
              <a:gd name="connsiteX173" fmla="*/ 193382 w 1778688"/>
              <a:gd name="connsiteY173" fmla="*/ 238320 h 383935"/>
              <a:gd name="connsiteX174" fmla="*/ 248210 w 1778688"/>
              <a:gd name="connsiteY174" fmla="*/ 260754 h 383935"/>
              <a:gd name="connsiteX175" fmla="*/ 238757 w 1778688"/>
              <a:gd name="connsiteY175" fmla="*/ 291203 h 383935"/>
              <a:gd name="connsiteX176" fmla="*/ 193382 w 1778688"/>
              <a:gd name="connsiteY176" fmla="*/ 272642 h 383935"/>
              <a:gd name="connsiteX177" fmla="*/ 185519 w 1778688"/>
              <a:gd name="connsiteY177" fmla="*/ 276992 h 383935"/>
              <a:gd name="connsiteX178" fmla="*/ 185351 w 1778688"/>
              <a:gd name="connsiteY178" fmla="*/ 306526 h 383935"/>
              <a:gd name="connsiteX179" fmla="*/ 77998 w 1778688"/>
              <a:gd name="connsiteY179" fmla="*/ 382542 h 383935"/>
              <a:gd name="connsiteX180" fmla="*/ 1431 w 1778688"/>
              <a:gd name="connsiteY180" fmla="*/ 275961 h 383935"/>
              <a:gd name="connsiteX181" fmla="*/ 71780 w 1778688"/>
              <a:gd name="connsiteY181" fmla="*/ 201171 h 383935"/>
              <a:gd name="connsiteX182" fmla="*/ 108762 w 1778688"/>
              <a:gd name="connsiteY182" fmla="*/ 199946 h 383935"/>
              <a:gd name="connsiteX183" fmla="*/ 112086 w 1778688"/>
              <a:gd name="connsiteY183" fmla="*/ 191932 h 383935"/>
              <a:gd name="connsiteX184" fmla="*/ 107705 w 1778688"/>
              <a:gd name="connsiteY184" fmla="*/ 184155 h 383935"/>
              <a:gd name="connsiteX185" fmla="*/ 93300 w 1778688"/>
              <a:gd name="connsiteY185" fmla="*/ 185258 h 383935"/>
              <a:gd name="connsiteX186" fmla="*/ 0 w 1778688"/>
              <a:gd name="connsiteY186" fmla="*/ 92629 h 383935"/>
              <a:gd name="connsiteX187" fmla="*/ 93300 w 1778688"/>
              <a:gd name="connsiteY187" fmla="*/ 0 h 383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1778688" h="383935">
                <a:moveTo>
                  <a:pt x="1758931" y="270064"/>
                </a:moveTo>
                <a:lnTo>
                  <a:pt x="1765112" y="270064"/>
                </a:lnTo>
                <a:lnTo>
                  <a:pt x="1768824" y="284017"/>
                </a:lnTo>
                <a:lnTo>
                  <a:pt x="1772493" y="270064"/>
                </a:lnTo>
                <a:lnTo>
                  <a:pt x="1778688" y="270064"/>
                </a:lnTo>
                <a:lnTo>
                  <a:pt x="1778688" y="290519"/>
                </a:lnTo>
                <a:lnTo>
                  <a:pt x="1774851" y="290519"/>
                </a:lnTo>
                <a:lnTo>
                  <a:pt x="1774851" y="274418"/>
                </a:lnTo>
                <a:lnTo>
                  <a:pt x="1770791" y="290519"/>
                </a:lnTo>
                <a:lnTo>
                  <a:pt x="1766815" y="290519"/>
                </a:lnTo>
                <a:lnTo>
                  <a:pt x="1762768" y="274418"/>
                </a:lnTo>
                <a:lnTo>
                  <a:pt x="1762768" y="290519"/>
                </a:lnTo>
                <a:lnTo>
                  <a:pt x="1758931" y="290519"/>
                </a:lnTo>
                <a:close/>
                <a:moveTo>
                  <a:pt x="1747095" y="269716"/>
                </a:moveTo>
                <a:cubicBezTo>
                  <a:pt x="1749662" y="269716"/>
                  <a:pt x="1751594" y="270278"/>
                  <a:pt x="1752892" y="271404"/>
                </a:cubicBezTo>
                <a:cubicBezTo>
                  <a:pt x="1754190" y="272529"/>
                  <a:pt x="1754871" y="274032"/>
                  <a:pt x="1754936" y="275911"/>
                </a:cubicBezTo>
                <a:lnTo>
                  <a:pt x="1750806" y="276092"/>
                </a:lnTo>
                <a:cubicBezTo>
                  <a:pt x="1750629" y="275041"/>
                  <a:pt x="1750250" y="274285"/>
                  <a:pt x="1749669" y="273825"/>
                </a:cubicBezTo>
                <a:cubicBezTo>
                  <a:pt x="1749088" y="273364"/>
                  <a:pt x="1748216" y="273134"/>
                  <a:pt x="1747053" y="273134"/>
                </a:cubicBezTo>
                <a:cubicBezTo>
                  <a:pt x="1745853" y="273134"/>
                  <a:pt x="1744914" y="273381"/>
                  <a:pt x="1744234" y="273874"/>
                </a:cubicBezTo>
                <a:cubicBezTo>
                  <a:pt x="1743797" y="274190"/>
                  <a:pt x="1743579" y="274613"/>
                  <a:pt x="1743579" y="275143"/>
                </a:cubicBezTo>
                <a:cubicBezTo>
                  <a:pt x="1743579" y="275627"/>
                  <a:pt x="1743783" y="276041"/>
                  <a:pt x="1744193" y="276385"/>
                </a:cubicBezTo>
                <a:cubicBezTo>
                  <a:pt x="1744714" y="276822"/>
                  <a:pt x="1745979" y="277278"/>
                  <a:pt x="1747988" y="277752"/>
                </a:cubicBezTo>
                <a:cubicBezTo>
                  <a:pt x="1749997" y="278227"/>
                  <a:pt x="1751483" y="278717"/>
                  <a:pt x="1752446" y="279224"/>
                </a:cubicBezTo>
                <a:cubicBezTo>
                  <a:pt x="1753408" y="279731"/>
                  <a:pt x="1754162" y="280424"/>
                  <a:pt x="1754706" y="281303"/>
                </a:cubicBezTo>
                <a:cubicBezTo>
                  <a:pt x="1755250" y="282182"/>
                  <a:pt x="1755522" y="283268"/>
                  <a:pt x="1755522" y="284561"/>
                </a:cubicBezTo>
                <a:cubicBezTo>
                  <a:pt x="1755522" y="285733"/>
                  <a:pt x="1755197" y="286831"/>
                  <a:pt x="1754545" y="287854"/>
                </a:cubicBezTo>
                <a:cubicBezTo>
                  <a:pt x="1753894" y="288877"/>
                  <a:pt x="1752973" y="289638"/>
                  <a:pt x="1751783" y="290135"/>
                </a:cubicBezTo>
                <a:cubicBezTo>
                  <a:pt x="1750592" y="290633"/>
                  <a:pt x="1749109" y="290882"/>
                  <a:pt x="1747332" y="290882"/>
                </a:cubicBezTo>
                <a:cubicBezTo>
                  <a:pt x="1744746" y="290882"/>
                  <a:pt x="1742760" y="290284"/>
                  <a:pt x="1741374" y="289089"/>
                </a:cubicBezTo>
                <a:cubicBezTo>
                  <a:pt x="1739988" y="287894"/>
                  <a:pt x="1739160" y="286152"/>
                  <a:pt x="1738891" y="283864"/>
                </a:cubicBezTo>
                <a:lnTo>
                  <a:pt x="1742909" y="283473"/>
                </a:lnTo>
                <a:cubicBezTo>
                  <a:pt x="1743151" y="284822"/>
                  <a:pt x="1743641" y="285812"/>
                  <a:pt x="1744381" y="286445"/>
                </a:cubicBezTo>
                <a:cubicBezTo>
                  <a:pt x="1745120" y="287077"/>
                  <a:pt x="1746118" y="287394"/>
                  <a:pt x="1747374" y="287394"/>
                </a:cubicBezTo>
                <a:cubicBezTo>
                  <a:pt x="1748704" y="287394"/>
                  <a:pt x="1749706" y="287112"/>
                  <a:pt x="1750381" y="286550"/>
                </a:cubicBezTo>
                <a:cubicBezTo>
                  <a:pt x="1751055" y="285987"/>
                  <a:pt x="1751392" y="285329"/>
                  <a:pt x="1751392" y="284575"/>
                </a:cubicBezTo>
                <a:cubicBezTo>
                  <a:pt x="1751392" y="284092"/>
                  <a:pt x="1751250" y="283680"/>
                  <a:pt x="1750967" y="283340"/>
                </a:cubicBezTo>
                <a:cubicBezTo>
                  <a:pt x="1750683" y="283001"/>
                  <a:pt x="1750188" y="282706"/>
                  <a:pt x="1749481" y="282454"/>
                </a:cubicBezTo>
                <a:cubicBezTo>
                  <a:pt x="1748997" y="282287"/>
                  <a:pt x="1747895" y="281989"/>
                  <a:pt x="1746174" y="281561"/>
                </a:cubicBezTo>
                <a:cubicBezTo>
                  <a:pt x="1743960" y="281013"/>
                  <a:pt x="1742407" y="280338"/>
                  <a:pt x="1741514" y="279538"/>
                </a:cubicBezTo>
                <a:cubicBezTo>
                  <a:pt x="1740258" y="278413"/>
                  <a:pt x="1739630" y="277041"/>
                  <a:pt x="1739630" y="275422"/>
                </a:cubicBezTo>
                <a:cubicBezTo>
                  <a:pt x="1739630" y="274380"/>
                  <a:pt x="1739925" y="273406"/>
                  <a:pt x="1740516" y="272499"/>
                </a:cubicBezTo>
                <a:cubicBezTo>
                  <a:pt x="1741107" y="271592"/>
                  <a:pt x="1741958" y="270902"/>
                  <a:pt x="1743069" y="270427"/>
                </a:cubicBezTo>
                <a:cubicBezTo>
                  <a:pt x="1744181" y="269953"/>
                  <a:pt x="1745523" y="269716"/>
                  <a:pt x="1747095" y="269716"/>
                </a:cubicBezTo>
                <a:close/>
                <a:moveTo>
                  <a:pt x="1415465" y="138005"/>
                </a:moveTo>
                <a:cubicBezTo>
                  <a:pt x="1384735" y="138005"/>
                  <a:pt x="1361597" y="163478"/>
                  <a:pt x="1361597" y="195655"/>
                </a:cubicBezTo>
                <a:cubicBezTo>
                  <a:pt x="1361597" y="227833"/>
                  <a:pt x="1384345" y="253724"/>
                  <a:pt x="1415465" y="253724"/>
                </a:cubicBezTo>
                <a:cubicBezTo>
                  <a:pt x="1446585" y="253724"/>
                  <a:pt x="1468492" y="227714"/>
                  <a:pt x="1468492" y="195655"/>
                </a:cubicBezTo>
                <a:cubicBezTo>
                  <a:pt x="1468492" y="163478"/>
                  <a:pt x="1446195" y="138005"/>
                  <a:pt x="1415465" y="138005"/>
                </a:cubicBezTo>
                <a:close/>
                <a:moveTo>
                  <a:pt x="743459" y="138005"/>
                </a:moveTo>
                <a:cubicBezTo>
                  <a:pt x="712729" y="138005"/>
                  <a:pt x="689592" y="163478"/>
                  <a:pt x="689592" y="195655"/>
                </a:cubicBezTo>
                <a:cubicBezTo>
                  <a:pt x="689592" y="227833"/>
                  <a:pt x="712309" y="253724"/>
                  <a:pt x="743459" y="253724"/>
                </a:cubicBezTo>
                <a:cubicBezTo>
                  <a:pt x="774609" y="253724"/>
                  <a:pt x="796486" y="227714"/>
                  <a:pt x="796486" y="195655"/>
                </a:cubicBezTo>
                <a:cubicBezTo>
                  <a:pt x="796486" y="163478"/>
                  <a:pt x="774189" y="138005"/>
                  <a:pt x="743459" y="138005"/>
                </a:cubicBezTo>
                <a:close/>
                <a:moveTo>
                  <a:pt x="262734" y="137498"/>
                </a:moveTo>
                <a:cubicBezTo>
                  <a:pt x="266461" y="140037"/>
                  <a:pt x="270492" y="142099"/>
                  <a:pt x="274738" y="143636"/>
                </a:cubicBezTo>
                <a:cubicBezTo>
                  <a:pt x="280701" y="145793"/>
                  <a:pt x="286997" y="146901"/>
                  <a:pt x="293344" y="146913"/>
                </a:cubicBezTo>
                <a:lnTo>
                  <a:pt x="274648" y="191961"/>
                </a:lnTo>
                <a:lnTo>
                  <a:pt x="279029" y="199767"/>
                </a:lnTo>
                <a:cubicBezTo>
                  <a:pt x="283795" y="199022"/>
                  <a:pt x="288612" y="198653"/>
                  <a:pt x="293434" y="198665"/>
                </a:cubicBezTo>
                <a:cubicBezTo>
                  <a:pt x="298614" y="198665"/>
                  <a:pt x="303784" y="199094"/>
                  <a:pt x="308889" y="199946"/>
                </a:cubicBezTo>
                <a:cubicBezTo>
                  <a:pt x="359707" y="208419"/>
                  <a:pt x="393982" y="256188"/>
                  <a:pt x="385447" y="306637"/>
                </a:cubicBezTo>
                <a:cubicBezTo>
                  <a:pt x="376912" y="357087"/>
                  <a:pt x="328797" y="391117"/>
                  <a:pt x="277979" y="382641"/>
                </a:cubicBezTo>
                <a:cubicBezTo>
                  <a:pt x="227164" y="374168"/>
                  <a:pt x="192890" y="326400"/>
                  <a:pt x="201424" y="275950"/>
                </a:cubicBezTo>
                <a:lnTo>
                  <a:pt x="238756" y="291204"/>
                </a:lnTo>
                <a:cubicBezTo>
                  <a:pt x="238738" y="302165"/>
                  <a:pt x="242064" y="312876"/>
                  <a:pt x="248297" y="321925"/>
                </a:cubicBezTo>
                <a:cubicBezTo>
                  <a:pt x="265336" y="346656"/>
                  <a:pt x="299343" y="352993"/>
                  <a:pt x="324254" y="336080"/>
                </a:cubicBezTo>
                <a:cubicBezTo>
                  <a:pt x="349165" y="319163"/>
                  <a:pt x="355548" y="285400"/>
                  <a:pt x="338512" y="260669"/>
                </a:cubicBezTo>
                <a:cubicBezTo>
                  <a:pt x="321472" y="235937"/>
                  <a:pt x="287465" y="229600"/>
                  <a:pt x="262554" y="246514"/>
                </a:cubicBezTo>
                <a:lnTo>
                  <a:pt x="240077" y="191961"/>
                </a:lnTo>
                <a:close/>
                <a:moveTo>
                  <a:pt x="1113718" y="133387"/>
                </a:moveTo>
                <a:cubicBezTo>
                  <a:pt x="1088090" y="133387"/>
                  <a:pt x="1070414" y="150935"/>
                  <a:pt x="1064532" y="176439"/>
                </a:cubicBezTo>
                <a:lnTo>
                  <a:pt x="1161733" y="176439"/>
                </a:lnTo>
                <a:cubicBezTo>
                  <a:pt x="1155732" y="148015"/>
                  <a:pt x="1137726" y="133387"/>
                  <a:pt x="1113718" y="133387"/>
                </a:cubicBezTo>
                <a:close/>
                <a:moveTo>
                  <a:pt x="1651972" y="89947"/>
                </a:moveTo>
                <a:cubicBezTo>
                  <a:pt x="1698547" y="89947"/>
                  <a:pt x="1728556" y="122542"/>
                  <a:pt x="1728556" y="174770"/>
                </a:cubicBezTo>
                <a:lnTo>
                  <a:pt x="1728556" y="295911"/>
                </a:lnTo>
                <a:lnTo>
                  <a:pt x="1677210" y="295911"/>
                </a:lnTo>
                <a:lnTo>
                  <a:pt x="1677210" y="182278"/>
                </a:lnTo>
                <a:cubicBezTo>
                  <a:pt x="1677210" y="155136"/>
                  <a:pt x="1661215" y="138005"/>
                  <a:pt x="1636397" y="138005"/>
                </a:cubicBezTo>
                <a:cubicBezTo>
                  <a:pt x="1610739" y="138005"/>
                  <a:pt x="1595163" y="155136"/>
                  <a:pt x="1595163" y="182278"/>
                </a:cubicBezTo>
                <a:lnTo>
                  <a:pt x="1595163" y="295911"/>
                </a:lnTo>
                <a:lnTo>
                  <a:pt x="1543817" y="295911"/>
                </a:lnTo>
                <a:lnTo>
                  <a:pt x="1543817" y="95787"/>
                </a:lnTo>
                <a:lnTo>
                  <a:pt x="1595163" y="95787"/>
                </a:lnTo>
                <a:lnTo>
                  <a:pt x="1595163" y="115421"/>
                </a:lnTo>
                <a:cubicBezTo>
                  <a:pt x="1607768" y="99154"/>
                  <a:pt x="1627124" y="89947"/>
                  <a:pt x="1651972" y="89947"/>
                </a:cubicBezTo>
                <a:close/>
                <a:moveTo>
                  <a:pt x="1415045" y="89947"/>
                </a:moveTo>
                <a:cubicBezTo>
                  <a:pt x="1473534" y="89947"/>
                  <a:pt x="1520259" y="137617"/>
                  <a:pt x="1520259" y="196073"/>
                </a:cubicBezTo>
                <a:cubicBezTo>
                  <a:pt x="1520640" y="254075"/>
                  <a:pt x="1473591" y="301399"/>
                  <a:pt x="1415168" y="301781"/>
                </a:cubicBezTo>
                <a:cubicBezTo>
                  <a:pt x="1415129" y="301781"/>
                  <a:pt x="1415087" y="301781"/>
                  <a:pt x="1415045" y="301781"/>
                </a:cubicBezTo>
                <a:cubicBezTo>
                  <a:pt x="1356436" y="301781"/>
                  <a:pt x="1310281" y="254141"/>
                  <a:pt x="1310281" y="196073"/>
                </a:cubicBezTo>
                <a:cubicBezTo>
                  <a:pt x="1310281" y="137588"/>
                  <a:pt x="1356556" y="89947"/>
                  <a:pt x="1415045" y="89947"/>
                </a:cubicBezTo>
                <a:close/>
                <a:moveTo>
                  <a:pt x="1112908" y="89947"/>
                </a:moveTo>
                <a:cubicBezTo>
                  <a:pt x="1170976" y="89947"/>
                  <a:pt x="1214340" y="134221"/>
                  <a:pt x="1214340" y="191902"/>
                </a:cubicBezTo>
                <a:cubicBezTo>
                  <a:pt x="1214458" y="197500"/>
                  <a:pt x="1214034" y="203098"/>
                  <a:pt x="1213080" y="208616"/>
                </a:cubicBezTo>
                <a:lnTo>
                  <a:pt x="1063692" y="208616"/>
                </a:lnTo>
                <a:cubicBezTo>
                  <a:pt x="1068734" y="236592"/>
                  <a:pt x="1090190" y="256643"/>
                  <a:pt x="1121340" y="256643"/>
                </a:cubicBezTo>
                <a:cubicBezTo>
                  <a:pt x="1139928" y="256625"/>
                  <a:pt x="1157709" y="249094"/>
                  <a:pt x="1170586" y="235788"/>
                </a:cubicBezTo>
                <a:lnTo>
                  <a:pt x="1197085" y="270468"/>
                </a:lnTo>
                <a:cubicBezTo>
                  <a:pt x="1182080" y="288016"/>
                  <a:pt x="1153331" y="301811"/>
                  <a:pt x="1119240" y="301811"/>
                </a:cubicBezTo>
                <a:cubicBezTo>
                  <a:pt x="1056520" y="301781"/>
                  <a:pt x="1011085" y="254141"/>
                  <a:pt x="1011085" y="196073"/>
                </a:cubicBezTo>
                <a:cubicBezTo>
                  <a:pt x="1011085" y="137588"/>
                  <a:pt x="1054839" y="89947"/>
                  <a:pt x="1112908" y="89947"/>
                </a:cubicBezTo>
                <a:close/>
                <a:moveTo>
                  <a:pt x="735056" y="89947"/>
                </a:moveTo>
                <a:cubicBezTo>
                  <a:pt x="761555" y="89947"/>
                  <a:pt x="782171" y="99571"/>
                  <a:pt x="796486" y="115838"/>
                </a:cubicBezTo>
                <a:lnTo>
                  <a:pt x="796486" y="95787"/>
                </a:lnTo>
                <a:lnTo>
                  <a:pt x="848253" y="95787"/>
                </a:lnTo>
                <a:lnTo>
                  <a:pt x="848253" y="295911"/>
                </a:lnTo>
                <a:lnTo>
                  <a:pt x="796486" y="295911"/>
                </a:lnTo>
                <a:lnTo>
                  <a:pt x="796486" y="274192"/>
                </a:lnTo>
                <a:cubicBezTo>
                  <a:pt x="781274" y="292151"/>
                  <a:pt x="758686" y="302296"/>
                  <a:pt x="735056" y="301781"/>
                </a:cubicBezTo>
                <a:cubicBezTo>
                  <a:pt x="681609" y="301781"/>
                  <a:pt x="638245" y="258312"/>
                  <a:pt x="638245" y="196073"/>
                </a:cubicBezTo>
                <a:cubicBezTo>
                  <a:pt x="638245" y="135502"/>
                  <a:pt x="679088" y="89947"/>
                  <a:pt x="735056" y="89947"/>
                </a:cubicBezTo>
                <a:close/>
                <a:moveTo>
                  <a:pt x="556409" y="89947"/>
                </a:moveTo>
                <a:cubicBezTo>
                  <a:pt x="590920" y="89947"/>
                  <a:pt x="618259" y="101656"/>
                  <a:pt x="635935" y="120039"/>
                </a:cubicBezTo>
                <a:lnTo>
                  <a:pt x="606465" y="156387"/>
                </a:lnTo>
                <a:cubicBezTo>
                  <a:pt x="593831" y="144044"/>
                  <a:pt x="576644" y="137397"/>
                  <a:pt x="558930" y="138005"/>
                </a:cubicBezTo>
                <a:cubicBezTo>
                  <a:pt x="525259" y="138005"/>
                  <a:pt x="502542" y="163478"/>
                  <a:pt x="502542" y="195655"/>
                </a:cubicBezTo>
                <a:cubicBezTo>
                  <a:pt x="502542" y="227833"/>
                  <a:pt x="525679" y="253724"/>
                  <a:pt x="558510" y="253724"/>
                </a:cubicBezTo>
                <a:cubicBezTo>
                  <a:pt x="577074" y="254248"/>
                  <a:pt x="595031" y="247142"/>
                  <a:pt x="608146" y="234089"/>
                </a:cubicBezTo>
                <a:lnTo>
                  <a:pt x="634254" y="271689"/>
                </a:lnTo>
                <a:cubicBezTo>
                  <a:pt x="618259" y="289238"/>
                  <a:pt x="589239" y="301781"/>
                  <a:pt x="557249" y="301781"/>
                </a:cubicBezTo>
                <a:cubicBezTo>
                  <a:pt x="498859" y="301962"/>
                  <a:pt x="451378" y="255118"/>
                  <a:pt x="451192" y="197148"/>
                </a:cubicBezTo>
                <a:cubicBezTo>
                  <a:pt x="451192" y="196791"/>
                  <a:pt x="451192" y="196430"/>
                  <a:pt x="451195" y="196073"/>
                </a:cubicBezTo>
                <a:cubicBezTo>
                  <a:pt x="451195" y="137588"/>
                  <a:pt x="497500" y="89947"/>
                  <a:pt x="556409" y="89947"/>
                </a:cubicBezTo>
                <a:close/>
                <a:moveTo>
                  <a:pt x="985847" y="89888"/>
                </a:moveTo>
                <a:cubicBezTo>
                  <a:pt x="997485" y="89483"/>
                  <a:pt x="1008916" y="93022"/>
                  <a:pt x="1018258" y="99928"/>
                </a:cubicBezTo>
                <a:lnTo>
                  <a:pt x="996771" y="148373"/>
                </a:lnTo>
                <a:cubicBezTo>
                  <a:pt x="989142" y="142652"/>
                  <a:pt x="979833" y="139575"/>
                  <a:pt x="970272" y="139613"/>
                </a:cubicBezTo>
                <a:cubicBezTo>
                  <a:pt x="949656" y="139613"/>
                  <a:pt x="936602" y="156745"/>
                  <a:pt x="936602" y="183887"/>
                </a:cubicBezTo>
                <a:lnTo>
                  <a:pt x="936602" y="295911"/>
                </a:lnTo>
                <a:lnTo>
                  <a:pt x="885285" y="295911"/>
                </a:lnTo>
                <a:lnTo>
                  <a:pt x="885285" y="95787"/>
                </a:lnTo>
                <a:lnTo>
                  <a:pt x="936602" y="95787"/>
                </a:lnTo>
                <a:lnTo>
                  <a:pt x="936602" y="117477"/>
                </a:lnTo>
                <a:cubicBezTo>
                  <a:pt x="947975" y="100763"/>
                  <a:pt x="964811" y="89888"/>
                  <a:pt x="985847" y="89888"/>
                </a:cubicBezTo>
                <a:close/>
                <a:moveTo>
                  <a:pt x="1235377" y="8491"/>
                </a:moveTo>
                <a:lnTo>
                  <a:pt x="1286724" y="8491"/>
                </a:lnTo>
                <a:lnTo>
                  <a:pt x="1286724" y="295912"/>
                </a:lnTo>
                <a:lnTo>
                  <a:pt x="1235377" y="295912"/>
                </a:lnTo>
                <a:close/>
                <a:moveTo>
                  <a:pt x="93300" y="0"/>
                </a:moveTo>
                <a:lnTo>
                  <a:pt x="93300" y="30"/>
                </a:lnTo>
                <a:cubicBezTo>
                  <a:pt x="98678" y="12"/>
                  <a:pt x="104044" y="456"/>
                  <a:pt x="109343" y="1359"/>
                </a:cubicBezTo>
                <a:cubicBezTo>
                  <a:pt x="147325" y="7825"/>
                  <a:pt x="175950" y="36300"/>
                  <a:pt x="184225" y="71343"/>
                </a:cubicBezTo>
                <a:lnTo>
                  <a:pt x="185309" y="107978"/>
                </a:lnTo>
                <a:lnTo>
                  <a:pt x="193382" y="111280"/>
                </a:lnTo>
                <a:lnTo>
                  <a:pt x="201244" y="106930"/>
                </a:lnTo>
                <a:cubicBezTo>
                  <a:pt x="200494" y="102199"/>
                  <a:pt x="200122" y="97417"/>
                  <a:pt x="200134" y="92629"/>
                </a:cubicBezTo>
                <a:cubicBezTo>
                  <a:pt x="200134" y="41470"/>
                  <a:pt x="241904" y="0"/>
                  <a:pt x="293434" y="0"/>
                </a:cubicBezTo>
                <a:lnTo>
                  <a:pt x="293434" y="149"/>
                </a:lnTo>
                <a:cubicBezTo>
                  <a:pt x="298608" y="149"/>
                  <a:pt x="303772" y="578"/>
                  <a:pt x="308877" y="1431"/>
                </a:cubicBezTo>
                <a:cubicBezTo>
                  <a:pt x="359692" y="9910"/>
                  <a:pt x="393963" y="57681"/>
                  <a:pt x="385423" y="108131"/>
                </a:cubicBezTo>
                <a:cubicBezTo>
                  <a:pt x="376882" y="158580"/>
                  <a:pt x="328764" y="192605"/>
                  <a:pt x="277949" y="184126"/>
                </a:cubicBezTo>
                <a:lnTo>
                  <a:pt x="293344" y="147062"/>
                </a:lnTo>
                <a:cubicBezTo>
                  <a:pt x="304384" y="147080"/>
                  <a:pt x="315173" y="143779"/>
                  <a:pt x="324287" y="137591"/>
                </a:cubicBezTo>
                <a:cubicBezTo>
                  <a:pt x="349198" y="120674"/>
                  <a:pt x="355581" y="86912"/>
                  <a:pt x="338544" y="62180"/>
                </a:cubicBezTo>
                <a:cubicBezTo>
                  <a:pt x="321505" y="37448"/>
                  <a:pt x="287498" y="31111"/>
                  <a:pt x="262587" y="48025"/>
                </a:cubicBezTo>
                <a:cubicBezTo>
                  <a:pt x="237676" y="64942"/>
                  <a:pt x="231293" y="98704"/>
                  <a:pt x="248329" y="123436"/>
                </a:cubicBezTo>
                <a:lnTo>
                  <a:pt x="193382" y="145602"/>
                </a:lnTo>
                <a:lnTo>
                  <a:pt x="138524" y="123168"/>
                </a:lnTo>
                <a:lnTo>
                  <a:pt x="148003" y="92731"/>
                </a:lnTo>
                <a:lnTo>
                  <a:pt x="138468" y="62028"/>
                </a:lnTo>
                <a:cubicBezTo>
                  <a:pt x="121428" y="37296"/>
                  <a:pt x="87421" y="30959"/>
                  <a:pt x="62510" y="47873"/>
                </a:cubicBezTo>
                <a:cubicBezTo>
                  <a:pt x="37599" y="64790"/>
                  <a:pt x="31216" y="98552"/>
                  <a:pt x="48253" y="123284"/>
                </a:cubicBezTo>
                <a:cubicBezTo>
                  <a:pt x="65292" y="148016"/>
                  <a:pt x="99299" y="154353"/>
                  <a:pt x="124210" y="137439"/>
                </a:cubicBezTo>
                <a:lnTo>
                  <a:pt x="146657" y="191961"/>
                </a:lnTo>
                <a:lnTo>
                  <a:pt x="124000" y="246424"/>
                </a:lnTo>
                <a:cubicBezTo>
                  <a:pt x="120279" y="243880"/>
                  <a:pt x="116242" y="241818"/>
                  <a:pt x="111996" y="240287"/>
                </a:cubicBezTo>
                <a:cubicBezTo>
                  <a:pt x="106033" y="238130"/>
                  <a:pt x="99737" y="237018"/>
                  <a:pt x="93390" y="237009"/>
                </a:cubicBezTo>
                <a:cubicBezTo>
                  <a:pt x="82349" y="236991"/>
                  <a:pt x="71561" y="240292"/>
                  <a:pt x="62447" y="246480"/>
                </a:cubicBezTo>
                <a:cubicBezTo>
                  <a:pt x="37536" y="263397"/>
                  <a:pt x="31153" y="297159"/>
                  <a:pt x="48189" y="321891"/>
                </a:cubicBezTo>
                <a:cubicBezTo>
                  <a:pt x="65229" y="346623"/>
                  <a:pt x="99236" y="352960"/>
                  <a:pt x="124147" y="336046"/>
                </a:cubicBezTo>
                <a:cubicBezTo>
                  <a:pt x="149058" y="319129"/>
                  <a:pt x="155441" y="285367"/>
                  <a:pt x="138404" y="260635"/>
                </a:cubicBezTo>
                <a:lnTo>
                  <a:pt x="193382" y="238320"/>
                </a:lnTo>
                <a:lnTo>
                  <a:pt x="248210" y="260754"/>
                </a:lnTo>
                <a:cubicBezTo>
                  <a:pt x="242079" y="269746"/>
                  <a:pt x="238790" y="280347"/>
                  <a:pt x="238757" y="291203"/>
                </a:cubicBezTo>
                <a:lnTo>
                  <a:pt x="193382" y="272642"/>
                </a:lnTo>
                <a:lnTo>
                  <a:pt x="185519" y="276992"/>
                </a:lnTo>
                <a:cubicBezTo>
                  <a:pt x="187056" y="286782"/>
                  <a:pt x="186999" y="296754"/>
                  <a:pt x="185351" y="306526"/>
                </a:cubicBezTo>
                <a:cubicBezTo>
                  <a:pt x="176850" y="356949"/>
                  <a:pt x="128786" y="390983"/>
                  <a:pt x="77998" y="382542"/>
                </a:cubicBezTo>
                <a:cubicBezTo>
                  <a:pt x="27209" y="374102"/>
                  <a:pt x="-7071" y="326384"/>
                  <a:pt x="1431" y="275961"/>
                </a:cubicBezTo>
                <a:cubicBezTo>
                  <a:pt x="7808" y="238144"/>
                  <a:pt x="36437" y="209546"/>
                  <a:pt x="71780" y="201171"/>
                </a:cubicBezTo>
                <a:lnTo>
                  <a:pt x="108762" y="199946"/>
                </a:lnTo>
                <a:lnTo>
                  <a:pt x="112086" y="191932"/>
                </a:lnTo>
                <a:lnTo>
                  <a:pt x="107705" y="184155"/>
                </a:lnTo>
                <a:cubicBezTo>
                  <a:pt x="102939" y="184900"/>
                  <a:pt x="98123" y="185270"/>
                  <a:pt x="93300" y="185258"/>
                </a:cubicBezTo>
                <a:cubicBezTo>
                  <a:pt x="41770" y="185258"/>
                  <a:pt x="0" y="143788"/>
                  <a:pt x="0" y="92629"/>
                </a:cubicBezTo>
                <a:cubicBezTo>
                  <a:pt x="0" y="41470"/>
                  <a:pt x="41770" y="0"/>
                  <a:pt x="93300" y="0"/>
                </a:cubicBezTo>
                <a:close/>
              </a:path>
            </a:pathLst>
          </a:custGeom>
          <a:solidFill>
            <a:schemeClr val="bg1"/>
          </a:solidFill>
        </p:spPr>
        <p:txBody>
          <a:bodyPr wrap="square">
            <a:noAutofit/>
          </a:bodyPr>
          <a:lstStyle>
            <a:lvl1pPr>
              <a:defRPr sz="100">
                <a:solidFill>
                  <a:schemeClr val="bg1">
                    <a:alpha val="0"/>
                  </a:schemeClr>
                </a:solidFill>
              </a:defRPr>
            </a:lvl1pPr>
          </a:lstStyle>
          <a:p>
            <a:pPr lvl="0"/>
            <a:r>
              <a:rPr lang="en-US"/>
              <a:t>Click to edit Master text styles</a:t>
            </a:r>
          </a:p>
        </p:txBody>
      </p:sp>
    </p:spTree>
    <p:extLst>
      <p:ext uri="{BB962C8B-B14F-4D97-AF65-F5344CB8AC3E}">
        <p14:creationId xmlns:p14="http://schemas.microsoft.com/office/powerpoint/2010/main" val="199273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 Slide 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23114C3-EDAA-984F-A7E5-1E563968A441}"/>
              </a:ext>
            </a:extLst>
          </p:cNvPr>
          <p:cNvSpPr>
            <a:spLocks noGrp="1"/>
          </p:cNvSpPr>
          <p:nvPr>
            <p:ph type="pic" sz="quarter" idx="10"/>
          </p:nvPr>
        </p:nvSpPr>
        <p:spPr>
          <a:xfrm>
            <a:off x="0" y="0"/>
            <a:ext cx="12192000" cy="3441700"/>
          </a:xfrm>
          <a:prstGeom prst="rect">
            <a:avLst/>
          </a:prstGeom>
          <a:solidFill>
            <a:schemeClr val="bg1">
              <a:lumMod val="95000"/>
            </a:schemeClr>
          </a:solidFill>
        </p:spPr>
        <p:txBody>
          <a:bodyPr/>
          <a:lstStyle>
            <a:lvl1pPr marL="0" indent="0">
              <a:buNone/>
              <a:defRPr sz="1200"/>
            </a:lvl1pPr>
          </a:lstStyle>
          <a:p>
            <a:r>
              <a:rPr lang="en-US"/>
              <a:t>Click icon to add picture</a:t>
            </a:r>
            <a:endParaRPr lang="en-US" dirty="0"/>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876609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4B6E5172-0EAF-9541-B6B0-E49938BC848D}"/>
              </a:ext>
            </a:extLst>
          </p:cNvPr>
          <p:cNvSpPr>
            <a:spLocks noGrp="1"/>
          </p:cNvSpPr>
          <p:nvPr>
            <p:ph type="ctrTitle" hasCustomPrompt="1"/>
          </p:nvPr>
        </p:nvSpPr>
        <p:spPr>
          <a:xfrm>
            <a:off x="457198" y="3759716"/>
            <a:ext cx="9366251" cy="622714"/>
          </a:xfrm>
        </p:spPr>
        <p:txBody>
          <a:bodyPr vert="horz" anchor="t"/>
          <a:lstStyle>
            <a:lvl1pPr algn="l">
              <a:defRPr sz="5000">
                <a:solidFill>
                  <a:schemeClr val="tx1"/>
                </a:solidFill>
              </a:defRPr>
            </a:lvl1pPr>
          </a:lstStyle>
          <a:p>
            <a:r>
              <a:rPr lang="en-US" dirty="0"/>
              <a:t>Click to add presentation title</a:t>
            </a:r>
          </a:p>
        </p:txBody>
      </p:sp>
      <p:sp>
        <p:nvSpPr>
          <p:cNvPr id="11" name="Subtitle 2">
            <a:extLst>
              <a:ext uri="{FF2B5EF4-FFF2-40B4-BE49-F238E27FC236}">
                <a16:creationId xmlns:a16="http://schemas.microsoft.com/office/drawing/2014/main" id="{E3B28E96-F998-4145-AFD3-BC0901E28925}"/>
              </a:ext>
            </a:extLst>
          </p:cNvPr>
          <p:cNvSpPr>
            <a:spLocks noGrp="1"/>
          </p:cNvSpPr>
          <p:nvPr>
            <p:ph type="subTitle" idx="1" hasCustomPrompt="1"/>
          </p:nvPr>
        </p:nvSpPr>
        <p:spPr>
          <a:xfrm>
            <a:off x="457198" y="5368036"/>
            <a:ext cx="5638800" cy="228600"/>
          </a:xfrm>
          <a:prstGeom prst="rect">
            <a:avLst/>
          </a:prstGeom>
        </p:spPr>
        <p:txBody>
          <a:bodyPr/>
          <a:lstStyle>
            <a:lvl1pPr marL="0" indent="0" algn="l">
              <a:buNone/>
              <a:defRPr sz="18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ext Placeholder 11">
            <a:extLst>
              <a:ext uri="{FF2B5EF4-FFF2-40B4-BE49-F238E27FC236}">
                <a16:creationId xmlns:a16="http://schemas.microsoft.com/office/drawing/2014/main" id="{5BCB3DBE-7952-BD46-A5A1-E42AA39DD513}"/>
              </a:ext>
            </a:extLst>
          </p:cNvPr>
          <p:cNvSpPr>
            <a:spLocks noGrp="1"/>
          </p:cNvSpPr>
          <p:nvPr>
            <p:ph type="body" sz="quarter" idx="11" hasCustomPrompt="1"/>
          </p:nvPr>
        </p:nvSpPr>
        <p:spPr>
          <a:xfrm>
            <a:off x="457198" y="5596636"/>
            <a:ext cx="5638800" cy="224536"/>
          </a:xfrm>
          <a:prstGeom prst="rect">
            <a:avLst/>
          </a:prstGeom>
        </p:spPr>
        <p:txBody>
          <a:bodyPr/>
          <a:lstStyle>
            <a:lvl1pPr marL="0" indent="0">
              <a:lnSpc>
                <a:spcPct val="100000"/>
              </a:lnSpc>
              <a:buNone/>
              <a:defRPr sz="1800" b="0" i="0">
                <a:latin typeface="+mn-lt"/>
              </a:defRPr>
            </a:lvl1pPr>
          </a:lstStyle>
          <a:p>
            <a:pPr lvl="0"/>
            <a:r>
              <a:rPr lang="en-US" dirty="0"/>
              <a:t>Click to add date</a:t>
            </a:r>
          </a:p>
        </p:txBody>
      </p:sp>
      <p:pic>
        <p:nvPicPr>
          <p:cNvPr id="8" name="Graphic 7">
            <a:extLst>
              <a:ext uri="{FF2B5EF4-FFF2-40B4-BE49-F238E27FC236}">
                <a16:creationId xmlns:a16="http://schemas.microsoft.com/office/drawing/2014/main" id="{E93D552E-25B4-83DE-3786-7C4BEDCA0C59}"/>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3341" y="6156161"/>
            <a:ext cx="1785575" cy="384339"/>
          </a:xfrm>
          <a:prstGeom prst="rect">
            <a:avLst/>
          </a:prstGeom>
        </p:spPr>
      </p:pic>
    </p:spTree>
    <p:extLst>
      <p:ext uri="{BB962C8B-B14F-4D97-AF65-F5344CB8AC3E}">
        <p14:creationId xmlns:p14="http://schemas.microsoft.com/office/powerpoint/2010/main" val="4159047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Full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21101585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975EBB8B-1207-DF46-B0BB-2ECF56904B51}"/>
              </a:ext>
            </a:extLst>
          </p:cNvPr>
          <p:cNvSpPr>
            <a:spLocks noGrp="1"/>
          </p:cNvSpPr>
          <p:nvPr>
            <p:ph type="pic" sz="quarter" idx="10"/>
          </p:nvPr>
        </p:nvSpPr>
        <p:spPr>
          <a:xfrm>
            <a:off x="0" y="0"/>
            <a:ext cx="12192000"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15089" y="2635703"/>
            <a:ext cx="8349499" cy="1548385"/>
          </a:xfrm>
        </p:spPr>
        <p:txBody>
          <a:bodyPr vert="horz" anchor="b" anchorCtr="0"/>
          <a:lstStyle>
            <a:lvl1pPr algn="l">
              <a:defRPr sz="5200">
                <a:solidFill>
                  <a:schemeClr val="bg1"/>
                </a:solidFill>
              </a:defRPr>
            </a:lvl1pPr>
          </a:lstStyle>
          <a:p>
            <a:r>
              <a:rPr lang="en-US" dirty="0"/>
              <a:t>Click to add  </a:t>
            </a:r>
            <a:br>
              <a:rPr lang="en-US" dirty="0"/>
            </a:br>
            <a:r>
              <a:rPr lang="en-US" dirty="0"/>
              <a:t>presentation title</a:t>
            </a:r>
          </a:p>
        </p:txBody>
      </p:sp>
      <p:sp>
        <p:nvSpPr>
          <p:cNvPr id="7" name="Text Placeholder 11">
            <a:extLst>
              <a:ext uri="{FF2B5EF4-FFF2-40B4-BE49-F238E27FC236}">
                <a16:creationId xmlns:a16="http://schemas.microsoft.com/office/drawing/2014/main" id="{888294A5-A4D0-A14B-A725-86332813F126}"/>
              </a:ext>
            </a:extLst>
          </p:cNvPr>
          <p:cNvSpPr>
            <a:spLocks noGrp="1"/>
          </p:cNvSpPr>
          <p:nvPr>
            <p:ph type="body" sz="quarter" idx="11" hasCustomPrompt="1"/>
          </p:nvPr>
        </p:nvSpPr>
        <p:spPr>
          <a:xfrm>
            <a:off x="415089" y="4758997"/>
            <a:ext cx="5638800" cy="224536"/>
          </a:xfrm>
        </p:spPr>
        <p:txBody>
          <a:bodyPr vert="horz" lIns="0" tIns="0" rIns="0" bIns="0" rtlCol="0">
            <a:noAutofit/>
          </a:bodyPr>
          <a:lstStyle>
            <a:lvl1pPr>
              <a:defRPr lang="en-US" sz="1800" i="1" dirty="0">
                <a:solidFill>
                  <a:schemeClr val="bg1"/>
                </a:solidFill>
                <a:latin typeface="Elevance Sans Italic" pitchFamily="2" charset="0"/>
              </a:defRPr>
            </a:lvl1pPr>
          </a:lstStyle>
          <a:p>
            <a:pPr lvl="0"/>
            <a:r>
              <a:rPr lang="en-US" dirty="0"/>
              <a:t>Click to add date</a:t>
            </a:r>
          </a:p>
        </p:txBody>
      </p:sp>
      <p:sp>
        <p:nvSpPr>
          <p:cNvPr id="9" name="Subtitle 2">
            <a:extLst>
              <a:ext uri="{FF2B5EF4-FFF2-40B4-BE49-F238E27FC236}">
                <a16:creationId xmlns:a16="http://schemas.microsoft.com/office/drawing/2014/main" id="{5483F015-5D8D-2240-9F46-EE2695B6E53C}"/>
              </a:ext>
            </a:extLst>
          </p:cNvPr>
          <p:cNvSpPr>
            <a:spLocks noGrp="1"/>
          </p:cNvSpPr>
          <p:nvPr>
            <p:ph type="subTitle" idx="1" hasCustomPrompt="1"/>
          </p:nvPr>
        </p:nvSpPr>
        <p:spPr>
          <a:xfrm>
            <a:off x="415089" y="4517136"/>
            <a:ext cx="5638800" cy="228600"/>
          </a:xfr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0" name="Text Placeholder 9">
            <a:extLst>
              <a:ext uri="{FF2B5EF4-FFF2-40B4-BE49-F238E27FC236}">
                <a16:creationId xmlns:a16="http://schemas.microsoft.com/office/drawing/2014/main" id="{6E879377-5C16-FAC6-29B4-F10D03555B56}"/>
              </a:ext>
            </a:extLst>
          </p:cNvPr>
          <p:cNvSpPr>
            <a:spLocks noGrp="1"/>
          </p:cNvSpPr>
          <p:nvPr>
            <p:ph type="body" sz="quarter" idx="14"/>
          </p:nvPr>
        </p:nvSpPr>
        <p:spPr>
          <a:xfrm>
            <a:off x="9993856" y="578424"/>
            <a:ext cx="1778688" cy="383935"/>
          </a:xfrm>
          <a:custGeom>
            <a:avLst/>
            <a:gdLst>
              <a:gd name="connsiteX0" fmla="*/ 1758931 w 1778688"/>
              <a:gd name="connsiteY0" fmla="*/ 270064 h 383935"/>
              <a:gd name="connsiteX1" fmla="*/ 1765112 w 1778688"/>
              <a:gd name="connsiteY1" fmla="*/ 270064 h 383935"/>
              <a:gd name="connsiteX2" fmla="*/ 1768824 w 1778688"/>
              <a:gd name="connsiteY2" fmla="*/ 284017 h 383935"/>
              <a:gd name="connsiteX3" fmla="*/ 1772493 w 1778688"/>
              <a:gd name="connsiteY3" fmla="*/ 270064 h 383935"/>
              <a:gd name="connsiteX4" fmla="*/ 1778688 w 1778688"/>
              <a:gd name="connsiteY4" fmla="*/ 270064 h 383935"/>
              <a:gd name="connsiteX5" fmla="*/ 1778688 w 1778688"/>
              <a:gd name="connsiteY5" fmla="*/ 290519 h 383935"/>
              <a:gd name="connsiteX6" fmla="*/ 1774851 w 1778688"/>
              <a:gd name="connsiteY6" fmla="*/ 290519 h 383935"/>
              <a:gd name="connsiteX7" fmla="*/ 1774851 w 1778688"/>
              <a:gd name="connsiteY7" fmla="*/ 274418 h 383935"/>
              <a:gd name="connsiteX8" fmla="*/ 1770791 w 1778688"/>
              <a:gd name="connsiteY8" fmla="*/ 290519 h 383935"/>
              <a:gd name="connsiteX9" fmla="*/ 1766815 w 1778688"/>
              <a:gd name="connsiteY9" fmla="*/ 290519 h 383935"/>
              <a:gd name="connsiteX10" fmla="*/ 1762768 w 1778688"/>
              <a:gd name="connsiteY10" fmla="*/ 274418 h 383935"/>
              <a:gd name="connsiteX11" fmla="*/ 1762768 w 1778688"/>
              <a:gd name="connsiteY11" fmla="*/ 290519 h 383935"/>
              <a:gd name="connsiteX12" fmla="*/ 1758931 w 1778688"/>
              <a:gd name="connsiteY12" fmla="*/ 290519 h 383935"/>
              <a:gd name="connsiteX13" fmla="*/ 1747095 w 1778688"/>
              <a:gd name="connsiteY13" fmla="*/ 269716 h 383935"/>
              <a:gd name="connsiteX14" fmla="*/ 1752892 w 1778688"/>
              <a:gd name="connsiteY14" fmla="*/ 271404 h 383935"/>
              <a:gd name="connsiteX15" fmla="*/ 1754936 w 1778688"/>
              <a:gd name="connsiteY15" fmla="*/ 275911 h 383935"/>
              <a:gd name="connsiteX16" fmla="*/ 1750806 w 1778688"/>
              <a:gd name="connsiteY16" fmla="*/ 276092 h 383935"/>
              <a:gd name="connsiteX17" fmla="*/ 1749669 w 1778688"/>
              <a:gd name="connsiteY17" fmla="*/ 273825 h 383935"/>
              <a:gd name="connsiteX18" fmla="*/ 1747053 w 1778688"/>
              <a:gd name="connsiteY18" fmla="*/ 273134 h 383935"/>
              <a:gd name="connsiteX19" fmla="*/ 1744234 w 1778688"/>
              <a:gd name="connsiteY19" fmla="*/ 273874 h 383935"/>
              <a:gd name="connsiteX20" fmla="*/ 1743579 w 1778688"/>
              <a:gd name="connsiteY20" fmla="*/ 275143 h 383935"/>
              <a:gd name="connsiteX21" fmla="*/ 1744193 w 1778688"/>
              <a:gd name="connsiteY21" fmla="*/ 276385 h 383935"/>
              <a:gd name="connsiteX22" fmla="*/ 1747988 w 1778688"/>
              <a:gd name="connsiteY22" fmla="*/ 277752 h 383935"/>
              <a:gd name="connsiteX23" fmla="*/ 1752446 w 1778688"/>
              <a:gd name="connsiteY23" fmla="*/ 279224 h 383935"/>
              <a:gd name="connsiteX24" fmla="*/ 1754706 w 1778688"/>
              <a:gd name="connsiteY24" fmla="*/ 281303 h 383935"/>
              <a:gd name="connsiteX25" fmla="*/ 1755522 w 1778688"/>
              <a:gd name="connsiteY25" fmla="*/ 284561 h 383935"/>
              <a:gd name="connsiteX26" fmla="*/ 1754545 w 1778688"/>
              <a:gd name="connsiteY26" fmla="*/ 287854 h 383935"/>
              <a:gd name="connsiteX27" fmla="*/ 1751783 w 1778688"/>
              <a:gd name="connsiteY27" fmla="*/ 290135 h 383935"/>
              <a:gd name="connsiteX28" fmla="*/ 1747332 w 1778688"/>
              <a:gd name="connsiteY28" fmla="*/ 290882 h 383935"/>
              <a:gd name="connsiteX29" fmla="*/ 1741374 w 1778688"/>
              <a:gd name="connsiteY29" fmla="*/ 289089 h 383935"/>
              <a:gd name="connsiteX30" fmla="*/ 1738891 w 1778688"/>
              <a:gd name="connsiteY30" fmla="*/ 283864 h 383935"/>
              <a:gd name="connsiteX31" fmla="*/ 1742909 w 1778688"/>
              <a:gd name="connsiteY31" fmla="*/ 283473 h 383935"/>
              <a:gd name="connsiteX32" fmla="*/ 1744381 w 1778688"/>
              <a:gd name="connsiteY32" fmla="*/ 286445 h 383935"/>
              <a:gd name="connsiteX33" fmla="*/ 1747374 w 1778688"/>
              <a:gd name="connsiteY33" fmla="*/ 287394 h 383935"/>
              <a:gd name="connsiteX34" fmla="*/ 1750381 w 1778688"/>
              <a:gd name="connsiteY34" fmla="*/ 286550 h 383935"/>
              <a:gd name="connsiteX35" fmla="*/ 1751392 w 1778688"/>
              <a:gd name="connsiteY35" fmla="*/ 284575 h 383935"/>
              <a:gd name="connsiteX36" fmla="*/ 1750967 w 1778688"/>
              <a:gd name="connsiteY36" fmla="*/ 283340 h 383935"/>
              <a:gd name="connsiteX37" fmla="*/ 1749481 w 1778688"/>
              <a:gd name="connsiteY37" fmla="*/ 282454 h 383935"/>
              <a:gd name="connsiteX38" fmla="*/ 1746174 w 1778688"/>
              <a:gd name="connsiteY38" fmla="*/ 281561 h 383935"/>
              <a:gd name="connsiteX39" fmla="*/ 1741514 w 1778688"/>
              <a:gd name="connsiteY39" fmla="*/ 279538 h 383935"/>
              <a:gd name="connsiteX40" fmla="*/ 1739630 w 1778688"/>
              <a:gd name="connsiteY40" fmla="*/ 275422 h 383935"/>
              <a:gd name="connsiteX41" fmla="*/ 1740516 w 1778688"/>
              <a:gd name="connsiteY41" fmla="*/ 272499 h 383935"/>
              <a:gd name="connsiteX42" fmla="*/ 1743069 w 1778688"/>
              <a:gd name="connsiteY42" fmla="*/ 270427 h 383935"/>
              <a:gd name="connsiteX43" fmla="*/ 1747095 w 1778688"/>
              <a:gd name="connsiteY43" fmla="*/ 269716 h 383935"/>
              <a:gd name="connsiteX44" fmla="*/ 1415465 w 1778688"/>
              <a:gd name="connsiteY44" fmla="*/ 138005 h 383935"/>
              <a:gd name="connsiteX45" fmla="*/ 1361597 w 1778688"/>
              <a:gd name="connsiteY45" fmla="*/ 195655 h 383935"/>
              <a:gd name="connsiteX46" fmla="*/ 1415465 w 1778688"/>
              <a:gd name="connsiteY46" fmla="*/ 253724 h 383935"/>
              <a:gd name="connsiteX47" fmla="*/ 1468492 w 1778688"/>
              <a:gd name="connsiteY47" fmla="*/ 195655 h 383935"/>
              <a:gd name="connsiteX48" fmla="*/ 1415465 w 1778688"/>
              <a:gd name="connsiteY48" fmla="*/ 138005 h 383935"/>
              <a:gd name="connsiteX49" fmla="*/ 743459 w 1778688"/>
              <a:gd name="connsiteY49" fmla="*/ 138005 h 383935"/>
              <a:gd name="connsiteX50" fmla="*/ 689592 w 1778688"/>
              <a:gd name="connsiteY50" fmla="*/ 195655 h 383935"/>
              <a:gd name="connsiteX51" fmla="*/ 743459 w 1778688"/>
              <a:gd name="connsiteY51" fmla="*/ 253724 h 383935"/>
              <a:gd name="connsiteX52" fmla="*/ 796486 w 1778688"/>
              <a:gd name="connsiteY52" fmla="*/ 195655 h 383935"/>
              <a:gd name="connsiteX53" fmla="*/ 743459 w 1778688"/>
              <a:gd name="connsiteY53" fmla="*/ 138005 h 383935"/>
              <a:gd name="connsiteX54" fmla="*/ 262734 w 1778688"/>
              <a:gd name="connsiteY54" fmla="*/ 137498 h 383935"/>
              <a:gd name="connsiteX55" fmla="*/ 274738 w 1778688"/>
              <a:gd name="connsiteY55" fmla="*/ 143636 h 383935"/>
              <a:gd name="connsiteX56" fmla="*/ 293344 w 1778688"/>
              <a:gd name="connsiteY56" fmla="*/ 146913 h 383935"/>
              <a:gd name="connsiteX57" fmla="*/ 274648 w 1778688"/>
              <a:gd name="connsiteY57" fmla="*/ 191961 h 383935"/>
              <a:gd name="connsiteX58" fmla="*/ 279029 w 1778688"/>
              <a:gd name="connsiteY58" fmla="*/ 199767 h 383935"/>
              <a:gd name="connsiteX59" fmla="*/ 293434 w 1778688"/>
              <a:gd name="connsiteY59" fmla="*/ 198665 h 383935"/>
              <a:gd name="connsiteX60" fmla="*/ 308889 w 1778688"/>
              <a:gd name="connsiteY60" fmla="*/ 199946 h 383935"/>
              <a:gd name="connsiteX61" fmla="*/ 385447 w 1778688"/>
              <a:gd name="connsiteY61" fmla="*/ 306637 h 383935"/>
              <a:gd name="connsiteX62" fmla="*/ 277979 w 1778688"/>
              <a:gd name="connsiteY62" fmla="*/ 382641 h 383935"/>
              <a:gd name="connsiteX63" fmla="*/ 201424 w 1778688"/>
              <a:gd name="connsiteY63" fmla="*/ 275950 h 383935"/>
              <a:gd name="connsiteX64" fmla="*/ 238756 w 1778688"/>
              <a:gd name="connsiteY64" fmla="*/ 291204 h 383935"/>
              <a:gd name="connsiteX65" fmla="*/ 248297 w 1778688"/>
              <a:gd name="connsiteY65" fmla="*/ 321925 h 383935"/>
              <a:gd name="connsiteX66" fmla="*/ 324254 w 1778688"/>
              <a:gd name="connsiteY66" fmla="*/ 336080 h 383935"/>
              <a:gd name="connsiteX67" fmla="*/ 338512 w 1778688"/>
              <a:gd name="connsiteY67" fmla="*/ 260669 h 383935"/>
              <a:gd name="connsiteX68" fmla="*/ 262554 w 1778688"/>
              <a:gd name="connsiteY68" fmla="*/ 246514 h 383935"/>
              <a:gd name="connsiteX69" fmla="*/ 240077 w 1778688"/>
              <a:gd name="connsiteY69" fmla="*/ 191961 h 383935"/>
              <a:gd name="connsiteX70" fmla="*/ 1113718 w 1778688"/>
              <a:gd name="connsiteY70" fmla="*/ 133387 h 383935"/>
              <a:gd name="connsiteX71" fmla="*/ 1064532 w 1778688"/>
              <a:gd name="connsiteY71" fmla="*/ 176439 h 383935"/>
              <a:gd name="connsiteX72" fmla="*/ 1161733 w 1778688"/>
              <a:gd name="connsiteY72" fmla="*/ 176439 h 383935"/>
              <a:gd name="connsiteX73" fmla="*/ 1113718 w 1778688"/>
              <a:gd name="connsiteY73" fmla="*/ 133387 h 383935"/>
              <a:gd name="connsiteX74" fmla="*/ 1651972 w 1778688"/>
              <a:gd name="connsiteY74" fmla="*/ 89947 h 383935"/>
              <a:gd name="connsiteX75" fmla="*/ 1728556 w 1778688"/>
              <a:gd name="connsiteY75" fmla="*/ 174770 h 383935"/>
              <a:gd name="connsiteX76" fmla="*/ 1728556 w 1778688"/>
              <a:gd name="connsiteY76" fmla="*/ 295911 h 383935"/>
              <a:gd name="connsiteX77" fmla="*/ 1677210 w 1778688"/>
              <a:gd name="connsiteY77" fmla="*/ 295911 h 383935"/>
              <a:gd name="connsiteX78" fmla="*/ 1677210 w 1778688"/>
              <a:gd name="connsiteY78" fmla="*/ 182278 h 383935"/>
              <a:gd name="connsiteX79" fmla="*/ 1636397 w 1778688"/>
              <a:gd name="connsiteY79" fmla="*/ 138005 h 383935"/>
              <a:gd name="connsiteX80" fmla="*/ 1595163 w 1778688"/>
              <a:gd name="connsiteY80" fmla="*/ 182278 h 383935"/>
              <a:gd name="connsiteX81" fmla="*/ 1595163 w 1778688"/>
              <a:gd name="connsiteY81" fmla="*/ 295911 h 383935"/>
              <a:gd name="connsiteX82" fmla="*/ 1543817 w 1778688"/>
              <a:gd name="connsiteY82" fmla="*/ 295911 h 383935"/>
              <a:gd name="connsiteX83" fmla="*/ 1543817 w 1778688"/>
              <a:gd name="connsiteY83" fmla="*/ 95787 h 383935"/>
              <a:gd name="connsiteX84" fmla="*/ 1595163 w 1778688"/>
              <a:gd name="connsiteY84" fmla="*/ 95787 h 383935"/>
              <a:gd name="connsiteX85" fmla="*/ 1595163 w 1778688"/>
              <a:gd name="connsiteY85" fmla="*/ 115421 h 383935"/>
              <a:gd name="connsiteX86" fmla="*/ 1651972 w 1778688"/>
              <a:gd name="connsiteY86" fmla="*/ 89947 h 383935"/>
              <a:gd name="connsiteX87" fmla="*/ 1415045 w 1778688"/>
              <a:gd name="connsiteY87" fmla="*/ 89947 h 383935"/>
              <a:gd name="connsiteX88" fmla="*/ 1520259 w 1778688"/>
              <a:gd name="connsiteY88" fmla="*/ 196073 h 383935"/>
              <a:gd name="connsiteX89" fmla="*/ 1415168 w 1778688"/>
              <a:gd name="connsiteY89" fmla="*/ 301781 h 383935"/>
              <a:gd name="connsiteX90" fmla="*/ 1415045 w 1778688"/>
              <a:gd name="connsiteY90" fmla="*/ 301781 h 383935"/>
              <a:gd name="connsiteX91" fmla="*/ 1310281 w 1778688"/>
              <a:gd name="connsiteY91" fmla="*/ 196073 h 383935"/>
              <a:gd name="connsiteX92" fmla="*/ 1415045 w 1778688"/>
              <a:gd name="connsiteY92" fmla="*/ 89947 h 383935"/>
              <a:gd name="connsiteX93" fmla="*/ 1112908 w 1778688"/>
              <a:gd name="connsiteY93" fmla="*/ 89947 h 383935"/>
              <a:gd name="connsiteX94" fmla="*/ 1214340 w 1778688"/>
              <a:gd name="connsiteY94" fmla="*/ 191902 h 383935"/>
              <a:gd name="connsiteX95" fmla="*/ 1213080 w 1778688"/>
              <a:gd name="connsiteY95" fmla="*/ 208616 h 383935"/>
              <a:gd name="connsiteX96" fmla="*/ 1063692 w 1778688"/>
              <a:gd name="connsiteY96" fmla="*/ 208616 h 383935"/>
              <a:gd name="connsiteX97" fmla="*/ 1121340 w 1778688"/>
              <a:gd name="connsiteY97" fmla="*/ 256643 h 383935"/>
              <a:gd name="connsiteX98" fmla="*/ 1170586 w 1778688"/>
              <a:gd name="connsiteY98" fmla="*/ 235788 h 383935"/>
              <a:gd name="connsiteX99" fmla="*/ 1197085 w 1778688"/>
              <a:gd name="connsiteY99" fmla="*/ 270468 h 383935"/>
              <a:gd name="connsiteX100" fmla="*/ 1119240 w 1778688"/>
              <a:gd name="connsiteY100" fmla="*/ 301811 h 383935"/>
              <a:gd name="connsiteX101" fmla="*/ 1011085 w 1778688"/>
              <a:gd name="connsiteY101" fmla="*/ 196073 h 383935"/>
              <a:gd name="connsiteX102" fmla="*/ 1112908 w 1778688"/>
              <a:gd name="connsiteY102" fmla="*/ 89947 h 383935"/>
              <a:gd name="connsiteX103" fmla="*/ 735056 w 1778688"/>
              <a:gd name="connsiteY103" fmla="*/ 89947 h 383935"/>
              <a:gd name="connsiteX104" fmla="*/ 796486 w 1778688"/>
              <a:gd name="connsiteY104" fmla="*/ 115838 h 383935"/>
              <a:gd name="connsiteX105" fmla="*/ 796486 w 1778688"/>
              <a:gd name="connsiteY105" fmla="*/ 95787 h 383935"/>
              <a:gd name="connsiteX106" fmla="*/ 848253 w 1778688"/>
              <a:gd name="connsiteY106" fmla="*/ 95787 h 383935"/>
              <a:gd name="connsiteX107" fmla="*/ 848253 w 1778688"/>
              <a:gd name="connsiteY107" fmla="*/ 295911 h 383935"/>
              <a:gd name="connsiteX108" fmla="*/ 796486 w 1778688"/>
              <a:gd name="connsiteY108" fmla="*/ 295911 h 383935"/>
              <a:gd name="connsiteX109" fmla="*/ 796486 w 1778688"/>
              <a:gd name="connsiteY109" fmla="*/ 274192 h 383935"/>
              <a:gd name="connsiteX110" fmla="*/ 735056 w 1778688"/>
              <a:gd name="connsiteY110" fmla="*/ 301781 h 383935"/>
              <a:gd name="connsiteX111" fmla="*/ 638245 w 1778688"/>
              <a:gd name="connsiteY111" fmla="*/ 196073 h 383935"/>
              <a:gd name="connsiteX112" fmla="*/ 735056 w 1778688"/>
              <a:gd name="connsiteY112" fmla="*/ 89947 h 383935"/>
              <a:gd name="connsiteX113" fmla="*/ 556409 w 1778688"/>
              <a:gd name="connsiteY113" fmla="*/ 89947 h 383935"/>
              <a:gd name="connsiteX114" fmla="*/ 635935 w 1778688"/>
              <a:gd name="connsiteY114" fmla="*/ 120039 h 383935"/>
              <a:gd name="connsiteX115" fmla="*/ 606465 w 1778688"/>
              <a:gd name="connsiteY115" fmla="*/ 156387 h 383935"/>
              <a:gd name="connsiteX116" fmla="*/ 558930 w 1778688"/>
              <a:gd name="connsiteY116" fmla="*/ 138005 h 383935"/>
              <a:gd name="connsiteX117" fmla="*/ 502542 w 1778688"/>
              <a:gd name="connsiteY117" fmla="*/ 195655 h 383935"/>
              <a:gd name="connsiteX118" fmla="*/ 558510 w 1778688"/>
              <a:gd name="connsiteY118" fmla="*/ 253724 h 383935"/>
              <a:gd name="connsiteX119" fmla="*/ 608146 w 1778688"/>
              <a:gd name="connsiteY119" fmla="*/ 234089 h 383935"/>
              <a:gd name="connsiteX120" fmla="*/ 634254 w 1778688"/>
              <a:gd name="connsiteY120" fmla="*/ 271689 h 383935"/>
              <a:gd name="connsiteX121" fmla="*/ 557249 w 1778688"/>
              <a:gd name="connsiteY121" fmla="*/ 301781 h 383935"/>
              <a:gd name="connsiteX122" fmla="*/ 451192 w 1778688"/>
              <a:gd name="connsiteY122" fmla="*/ 197148 h 383935"/>
              <a:gd name="connsiteX123" fmla="*/ 451195 w 1778688"/>
              <a:gd name="connsiteY123" fmla="*/ 196073 h 383935"/>
              <a:gd name="connsiteX124" fmla="*/ 556409 w 1778688"/>
              <a:gd name="connsiteY124" fmla="*/ 89947 h 383935"/>
              <a:gd name="connsiteX125" fmla="*/ 985847 w 1778688"/>
              <a:gd name="connsiteY125" fmla="*/ 89888 h 383935"/>
              <a:gd name="connsiteX126" fmla="*/ 1018258 w 1778688"/>
              <a:gd name="connsiteY126" fmla="*/ 99928 h 383935"/>
              <a:gd name="connsiteX127" fmla="*/ 996771 w 1778688"/>
              <a:gd name="connsiteY127" fmla="*/ 148373 h 383935"/>
              <a:gd name="connsiteX128" fmla="*/ 970272 w 1778688"/>
              <a:gd name="connsiteY128" fmla="*/ 139613 h 383935"/>
              <a:gd name="connsiteX129" fmla="*/ 936602 w 1778688"/>
              <a:gd name="connsiteY129" fmla="*/ 183887 h 383935"/>
              <a:gd name="connsiteX130" fmla="*/ 936602 w 1778688"/>
              <a:gd name="connsiteY130" fmla="*/ 295911 h 383935"/>
              <a:gd name="connsiteX131" fmla="*/ 885285 w 1778688"/>
              <a:gd name="connsiteY131" fmla="*/ 295911 h 383935"/>
              <a:gd name="connsiteX132" fmla="*/ 885285 w 1778688"/>
              <a:gd name="connsiteY132" fmla="*/ 95787 h 383935"/>
              <a:gd name="connsiteX133" fmla="*/ 936602 w 1778688"/>
              <a:gd name="connsiteY133" fmla="*/ 95787 h 383935"/>
              <a:gd name="connsiteX134" fmla="*/ 936602 w 1778688"/>
              <a:gd name="connsiteY134" fmla="*/ 117477 h 383935"/>
              <a:gd name="connsiteX135" fmla="*/ 985847 w 1778688"/>
              <a:gd name="connsiteY135" fmla="*/ 89888 h 383935"/>
              <a:gd name="connsiteX136" fmla="*/ 1235377 w 1778688"/>
              <a:gd name="connsiteY136" fmla="*/ 8491 h 383935"/>
              <a:gd name="connsiteX137" fmla="*/ 1286724 w 1778688"/>
              <a:gd name="connsiteY137" fmla="*/ 8491 h 383935"/>
              <a:gd name="connsiteX138" fmla="*/ 1286724 w 1778688"/>
              <a:gd name="connsiteY138" fmla="*/ 295912 h 383935"/>
              <a:gd name="connsiteX139" fmla="*/ 1235377 w 1778688"/>
              <a:gd name="connsiteY139" fmla="*/ 295912 h 383935"/>
              <a:gd name="connsiteX140" fmla="*/ 93300 w 1778688"/>
              <a:gd name="connsiteY140" fmla="*/ 0 h 383935"/>
              <a:gd name="connsiteX141" fmla="*/ 93300 w 1778688"/>
              <a:gd name="connsiteY141" fmla="*/ 30 h 383935"/>
              <a:gd name="connsiteX142" fmla="*/ 109343 w 1778688"/>
              <a:gd name="connsiteY142" fmla="*/ 1359 h 383935"/>
              <a:gd name="connsiteX143" fmla="*/ 184225 w 1778688"/>
              <a:gd name="connsiteY143" fmla="*/ 71343 h 383935"/>
              <a:gd name="connsiteX144" fmla="*/ 185309 w 1778688"/>
              <a:gd name="connsiteY144" fmla="*/ 107978 h 383935"/>
              <a:gd name="connsiteX145" fmla="*/ 193382 w 1778688"/>
              <a:gd name="connsiteY145" fmla="*/ 111280 h 383935"/>
              <a:gd name="connsiteX146" fmla="*/ 201244 w 1778688"/>
              <a:gd name="connsiteY146" fmla="*/ 106930 h 383935"/>
              <a:gd name="connsiteX147" fmla="*/ 200134 w 1778688"/>
              <a:gd name="connsiteY147" fmla="*/ 92629 h 383935"/>
              <a:gd name="connsiteX148" fmla="*/ 293434 w 1778688"/>
              <a:gd name="connsiteY148" fmla="*/ 0 h 383935"/>
              <a:gd name="connsiteX149" fmla="*/ 293434 w 1778688"/>
              <a:gd name="connsiteY149" fmla="*/ 149 h 383935"/>
              <a:gd name="connsiteX150" fmla="*/ 308877 w 1778688"/>
              <a:gd name="connsiteY150" fmla="*/ 1431 h 383935"/>
              <a:gd name="connsiteX151" fmla="*/ 385423 w 1778688"/>
              <a:gd name="connsiteY151" fmla="*/ 108131 h 383935"/>
              <a:gd name="connsiteX152" fmla="*/ 277949 w 1778688"/>
              <a:gd name="connsiteY152" fmla="*/ 184126 h 383935"/>
              <a:gd name="connsiteX153" fmla="*/ 293344 w 1778688"/>
              <a:gd name="connsiteY153" fmla="*/ 147062 h 383935"/>
              <a:gd name="connsiteX154" fmla="*/ 324287 w 1778688"/>
              <a:gd name="connsiteY154" fmla="*/ 137591 h 383935"/>
              <a:gd name="connsiteX155" fmla="*/ 338544 w 1778688"/>
              <a:gd name="connsiteY155" fmla="*/ 62180 h 383935"/>
              <a:gd name="connsiteX156" fmla="*/ 262587 w 1778688"/>
              <a:gd name="connsiteY156" fmla="*/ 48025 h 383935"/>
              <a:gd name="connsiteX157" fmla="*/ 248329 w 1778688"/>
              <a:gd name="connsiteY157" fmla="*/ 123436 h 383935"/>
              <a:gd name="connsiteX158" fmla="*/ 193382 w 1778688"/>
              <a:gd name="connsiteY158" fmla="*/ 145602 h 383935"/>
              <a:gd name="connsiteX159" fmla="*/ 138524 w 1778688"/>
              <a:gd name="connsiteY159" fmla="*/ 123168 h 383935"/>
              <a:gd name="connsiteX160" fmla="*/ 148003 w 1778688"/>
              <a:gd name="connsiteY160" fmla="*/ 92731 h 383935"/>
              <a:gd name="connsiteX161" fmla="*/ 138468 w 1778688"/>
              <a:gd name="connsiteY161" fmla="*/ 62028 h 383935"/>
              <a:gd name="connsiteX162" fmla="*/ 62510 w 1778688"/>
              <a:gd name="connsiteY162" fmla="*/ 47873 h 383935"/>
              <a:gd name="connsiteX163" fmla="*/ 48253 w 1778688"/>
              <a:gd name="connsiteY163" fmla="*/ 123284 h 383935"/>
              <a:gd name="connsiteX164" fmla="*/ 124210 w 1778688"/>
              <a:gd name="connsiteY164" fmla="*/ 137439 h 383935"/>
              <a:gd name="connsiteX165" fmla="*/ 146657 w 1778688"/>
              <a:gd name="connsiteY165" fmla="*/ 191961 h 383935"/>
              <a:gd name="connsiteX166" fmla="*/ 124000 w 1778688"/>
              <a:gd name="connsiteY166" fmla="*/ 246424 h 383935"/>
              <a:gd name="connsiteX167" fmla="*/ 111996 w 1778688"/>
              <a:gd name="connsiteY167" fmla="*/ 240287 h 383935"/>
              <a:gd name="connsiteX168" fmla="*/ 93390 w 1778688"/>
              <a:gd name="connsiteY168" fmla="*/ 237009 h 383935"/>
              <a:gd name="connsiteX169" fmla="*/ 62447 w 1778688"/>
              <a:gd name="connsiteY169" fmla="*/ 246480 h 383935"/>
              <a:gd name="connsiteX170" fmla="*/ 48189 w 1778688"/>
              <a:gd name="connsiteY170" fmla="*/ 321891 h 383935"/>
              <a:gd name="connsiteX171" fmla="*/ 124147 w 1778688"/>
              <a:gd name="connsiteY171" fmla="*/ 336046 h 383935"/>
              <a:gd name="connsiteX172" fmla="*/ 138404 w 1778688"/>
              <a:gd name="connsiteY172" fmla="*/ 260635 h 383935"/>
              <a:gd name="connsiteX173" fmla="*/ 193382 w 1778688"/>
              <a:gd name="connsiteY173" fmla="*/ 238320 h 383935"/>
              <a:gd name="connsiteX174" fmla="*/ 248210 w 1778688"/>
              <a:gd name="connsiteY174" fmla="*/ 260754 h 383935"/>
              <a:gd name="connsiteX175" fmla="*/ 238757 w 1778688"/>
              <a:gd name="connsiteY175" fmla="*/ 291203 h 383935"/>
              <a:gd name="connsiteX176" fmla="*/ 193382 w 1778688"/>
              <a:gd name="connsiteY176" fmla="*/ 272642 h 383935"/>
              <a:gd name="connsiteX177" fmla="*/ 185519 w 1778688"/>
              <a:gd name="connsiteY177" fmla="*/ 276992 h 383935"/>
              <a:gd name="connsiteX178" fmla="*/ 185351 w 1778688"/>
              <a:gd name="connsiteY178" fmla="*/ 306526 h 383935"/>
              <a:gd name="connsiteX179" fmla="*/ 77998 w 1778688"/>
              <a:gd name="connsiteY179" fmla="*/ 382542 h 383935"/>
              <a:gd name="connsiteX180" fmla="*/ 1431 w 1778688"/>
              <a:gd name="connsiteY180" fmla="*/ 275961 h 383935"/>
              <a:gd name="connsiteX181" fmla="*/ 71780 w 1778688"/>
              <a:gd name="connsiteY181" fmla="*/ 201171 h 383935"/>
              <a:gd name="connsiteX182" fmla="*/ 108762 w 1778688"/>
              <a:gd name="connsiteY182" fmla="*/ 199946 h 383935"/>
              <a:gd name="connsiteX183" fmla="*/ 112086 w 1778688"/>
              <a:gd name="connsiteY183" fmla="*/ 191932 h 383935"/>
              <a:gd name="connsiteX184" fmla="*/ 107705 w 1778688"/>
              <a:gd name="connsiteY184" fmla="*/ 184155 h 383935"/>
              <a:gd name="connsiteX185" fmla="*/ 93300 w 1778688"/>
              <a:gd name="connsiteY185" fmla="*/ 185258 h 383935"/>
              <a:gd name="connsiteX186" fmla="*/ 0 w 1778688"/>
              <a:gd name="connsiteY186" fmla="*/ 92629 h 383935"/>
              <a:gd name="connsiteX187" fmla="*/ 93300 w 1778688"/>
              <a:gd name="connsiteY187" fmla="*/ 0 h 383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1778688" h="383935">
                <a:moveTo>
                  <a:pt x="1758931" y="270064"/>
                </a:moveTo>
                <a:lnTo>
                  <a:pt x="1765112" y="270064"/>
                </a:lnTo>
                <a:lnTo>
                  <a:pt x="1768824" y="284017"/>
                </a:lnTo>
                <a:lnTo>
                  <a:pt x="1772493" y="270064"/>
                </a:lnTo>
                <a:lnTo>
                  <a:pt x="1778688" y="270064"/>
                </a:lnTo>
                <a:lnTo>
                  <a:pt x="1778688" y="290519"/>
                </a:lnTo>
                <a:lnTo>
                  <a:pt x="1774851" y="290519"/>
                </a:lnTo>
                <a:lnTo>
                  <a:pt x="1774851" y="274418"/>
                </a:lnTo>
                <a:lnTo>
                  <a:pt x="1770791" y="290519"/>
                </a:lnTo>
                <a:lnTo>
                  <a:pt x="1766815" y="290519"/>
                </a:lnTo>
                <a:lnTo>
                  <a:pt x="1762768" y="274418"/>
                </a:lnTo>
                <a:lnTo>
                  <a:pt x="1762768" y="290519"/>
                </a:lnTo>
                <a:lnTo>
                  <a:pt x="1758931" y="290519"/>
                </a:lnTo>
                <a:close/>
                <a:moveTo>
                  <a:pt x="1747095" y="269716"/>
                </a:moveTo>
                <a:cubicBezTo>
                  <a:pt x="1749662" y="269716"/>
                  <a:pt x="1751594" y="270278"/>
                  <a:pt x="1752892" y="271404"/>
                </a:cubicBezTo>
                <a:cubicBezTo>
                  <a:pt x="1754190" y="272529"/>
                  <a:pt x="1754871" y="274032"/>
                  <a:pt x="1754936" y="275911"/>
                </a:cubicBezTo>
                <a:lnTo>
                  <a:pt x="1750806" y="276092"/>
                </a:lnTo>
                <a:cubicBezTo>
                  <a:pt x="1750629" y="275041"/>
                  <a:pt x="1750250" y="274285"/>
                  <a:pt x="1749669" y="273825"/>
                </a:cubicBezTo>
                <a:cubicBezTo>
                  <a:pt x="1749088" y="273364"/>
                  <a:pt x="1748216" y="273134"/>
                  <a:pt x="1747053" y="273134"/>
                </a:cubicBezTo>
                <a:cubicBezTo>
                  <a:pt x="1745853" y="273134"/>
                  <a:pt x="1744914" y="273381"/>
                  <a:pt x="1744234" y="273874"/>
                </a:cubicBezTo>
                <a:cubicBezTo>
                  <a:pt x="1743797" y="274190"/>
                  <a:pt x="1743579" y="274613"/>
                  <a:pt x="1743579" y="275143"/>
                </a:cubicBezTo>
                <a:cubicBezTo>
                  <a:pt x="1743579" y="275627"/>
                  <a:pt x="1743783" y="276041"/>
                  <a:pt x="1744193" y="276385"/>
                </a:cubicBezTo>
                <a:cubicBezTo>
                  <a:pt x="1744714" y="276822"/>
                  <a:pt x="1745979" y="277278"/>
                  <a:pt x="1747988" y="277752"/>
                </a:cubicBezTo>
                <a:cubicBezTo>
                  <a:pt x="1749997" y="278227"/>
                  <a:pt x="1751483" y="278717"/>
                  <a:pt x="1752446" y="279224"/>
                </a:cubicBezTo>
                <a:cubicBezTo>
                  <a:pt x="1753408" y="279731"/>
                  <a:pt x="1754162" y="280424"/>
                  <a:pt x="1754706" y="281303"/>
                </a:cubicBezTo>
                <a:cubicBezTo>
                  <a:pt x="1755250" y="282182"/>
                  <a:pt x="1755522" y="283268"/>
                  <a:pt x="1755522" y="284561"/>
                </a:cubicBezTo>
                <a:cubicBezTo>
                  <a:pt x="1755522" y="285733"/>
                  <a:pt x="1755197" y="286831"/>
                  <a:pt x="1754545" y="287854"/>
                </a:cubicBezTo>
                <a:cubicBezTo>
                  <a:pt x="1753894" y="288877"/>
                  <a:pt x="1752973" y="289638"/>
                  <a:pt x="1751783" y="290135"/>
                </a:cubicBezTo>
                <a:cubicBezTo>
                  <a:pt x="1750592" y="290633"/>
                  <a:pt x="1749109" y="290882"/>
                  <a:pt x="1747332" y="290882"/>
                </a:cubicBezTo>
                <a:cubicBezTo>
                  <a:pt x="1744746" y="290882"/>
                  <a:pt x="1742760" y="290284"/>
                  <a:pt x="1741374" y="289089"/>
                </a:cubicBezTo>
                <a:cubicBezTo>
                  <a:pt x="1739988" y="287894"/>
                  <a:pt x="1739160" y="286152"/>
                  <a:pt x="1738891" y="283864"/>
                </a:cubicBezTo>
                <a:lnTo>
                  <a:pt x="1742909" y="283473"/>
                </a:lnTo>
                <a:cubicBezTo>
                  <a:pt x="1743151" y="284822"/>
                  <a:pt x="1743641" y="285812"/>
                  <a:pt x="1744381" y="286445"/>
                </a:cubicBezTo>
                <a:cubicBezTo>
                  <a:pt x="1745120" y="287077"/>
                  <a:pt x="1746118" y="287394"/>
                  <a:pt x="1747374" y="287394"/>
                </a:cubicBezTo>
                <a:cubicBezTo>
                  <a:pt x="1748704" y="287394"/>
                  <a:pt x="1749706" y="287112"/>
                  <a:pt x="1750381" y="286550"/>
                </a:cubicBezTo>
                <a:cubicBezTo>
                  <a:pt x="1751055" y="285987"/>
                  <a:pt x="1751392" y="285329"/>
                  <a:pt x="1751392" y="284575"/>
                </a:cubicBezTo>
                <a:cubicBezTo>
                  <a:pt x="1751392" y="284092"/>
                  <a:pt x="1751250" y="283680"/>
                  <a:pt x="1750967" y="283340"/>
                </a:cubicBezTo>
                <a:cubicBezTo>
                  <a:pt x="1750683" y="283001"/>
                  <a:pt x="1750188" y="282706"/>
                  <a:pt x="1749481" y="282454"/>
                </a:cubicBezTo>
                <a:cubicBezTo>
                  <a:pt x="1748997" y="282287"/>
                  <a:pt x="1747895" y="281989"/>
                  <a:pt x="1746174" y="281561"/>
                </a:cubicBezTo>
                <a:cubicBezTo>
                  <a:pt x="1743960" y="281013"/>
                  <a:pt x="1742407" y="280338"/>
                  <a:pt x="1741514" y="279538"/>
                </a:cubicBezTo>
                <a:cubicBezTo>
                  <a:pt x="1740258" y="278413"/>
                  <a:pt x="1739630" y="277041"/>
                  <a:pt x="1739630" y="275422"/>
                </a:cubicBezTo>
                <a:cubicBezTo>
                  <a:pt x="1739630" y="274380"/>
                  <a:pt x="1739925" y="273406"/>
                  <a:pt x="1740516" y="272499"/>
                </a:cubicBezTo>
                <a:cubicBezTo>
                  <a:pt x="1741107" y="271592"/>
                  <a:pt x="1741958" y="270902"/>
                  <a:pt x="1743069" y="270427"/>
                </a:cubicBezTo>
                <a:cubicBezTo>
                  <a:pt x="1744181" y="269953"/>
                  <a:pt x="1745523" y="269716"/>
                  <a:pt x="1747095" y="269716"/>
                </a:cubicBezTo>
                <a:close/>
                <a:moveTo>
                  <a:pt x="1415465" y="138005"/>
                </a:moveTo>
                <a:cubicBezTo>
                  <a:pt x="1384735" y="138005"/>
                  <a:pt x="1361597" y="163478"/>
                  <a:pt x="1361597" y="195655"/>
                </a:cubicBezTo>
                <a:cubicBezTo>
                  <a:pt x="1361597" y="227833"/>
                  <a:pt x="1384345" y="253724"/>
                  <a:pt x="1415465" y="253724"/>
                </a:cubicBezTo>
                <a:cubicBezTo>
                  <a:pt x="1446585" y="253724"/>
                  <a:pt x="1468492" y="227714"/>
                  <a:pt x="1468492" y="195655"/>
                </a:cubicBezTo>
                <a:cubicBezTo>
                  <a:pt x="1468492" y="163478"/>
                  <a:pt x="1446195" y="138005"/>
                  <a:pt x="1415465" y="138005"/>
                </a:cubicBezTo>
                <a:close/>
                <a:moveTo>
                  <a:pt x="743459" y="138005"/>
                </a:moveTo>
                <a:cubicBezTo>
                  <a:pt x="712729" y="138005"/>
                  <a:pt x="689592" y="163478"/>
                  <a:pt x="689592" y="195655"/>
                </a:cubicBezTo>
                <a:cubicBezTo>
                  <a:pt x="689592" y="227833"/>
                  <a:pt x="712309" y="253724"/>
                  <a:pt x="743459" y="253724"/>
                </a:cubicBezTo>
                <a:cubicBezTo>
                  <a:pt x="774609" y="253724"/>
                  <a:pt x="796486" y="227714"/>
                  <a:pt x="796486" y="195655"/>
                </a:cubicBezTo>
                <a:cubicBezTo>
                  <a:pt x="796486" y="163478"/>
                  <a:pt x="774189" y="138005"/>
                  <a:pt x="743459" y="138005"/>
                </a:cubicBezTo>
                <a:close/>
                <a:moveTo>
                  <a:pt x="262734" y="137498"/>
                </a:moveTo>
                <a:cubicBezTo>
                  <a:pt x="266461" y="140037"/>
                  <a:pt x="270492" y="142099"/>
                  <a:pt x="274738" y="143636"/>
                </a:cubicBezTo>
                <a:cubicBezTo>
                  <a:pt x="280701" y="145793"/>
                  <a:pt x="286997" y="146901"/>
                  <a:pt x="293344" y="146913"/>
                </a:cubicBezTo>
                <a:lnTo>
                  <a:pt x="274648" y="191961"/>
                </a:lnTo>
                <a:lnTo>
                  <a:pt x="279029" y="199767"/>
                </a:lnTo>
                <a:cubicBezTo>
                  <a:pt x="283795" y="199022"/>
                  <a:pt x="288612" y="198653"/>
                  <a:pt x="293434" y="198665"/>
                </a:cubicBezTo>
                <a:cubicBezTo>
                  <a:pt x="298614" y="198665"/>
                  <a:pt x="303784" y="199094"/>
                  <a:pt x="308889" y="199946"/>
                </a:cubicBezTo>
                <a:cubicBezTo>
                  <a:pt x="359707" y="208419"/>
                  <a:pt x="393982" y="256188"/>
                  <a:pt x="385447" y="306637"/>
                </a:cubicBezTo>
                <a:cubicBezTo>
                  <a:pt x="376912" y="357087"/>
                  <a:pt x="328797" y="391117"/>
                  <a:pt x="277979" y="382641"/>
                </a:cubicBezTo>
                <a:cubicBezTo>
                  <a:pt x="227164" y="374168"/>
                  <a:pt x="192890" y="326400"/>
                  <a:pt x="201424" y="275950"/>
                </a:cubicBezTo>
                <a:lnTo>
                  <a:pt x="238756" y="291204"/>
                </a:lnTo>
                <a:cubicBezTo>
                  <a:pt x="238738" y="302165"/>
                  <a:pt x="242064" y="312876"/>
                  <a:pt x="248297" y="321925"/>
                </a:cubicBezTo>
                <a:cubicBezTo>
                  <a:pt x="265336" y="346656"/>
                  <a:pt x="299343" y="352993"/>
                  <a:pt x="324254" y="336080"/>
                </a:cubicBezTo>
                <a:cubicBezTo>
                  <a:pt x="349165" y="319163"/>
                  <a:pt x="355548" y="285400"/>
                  <a:pt x="338512" y="260669"/>
                </a:cubicBezTo>
                <a:cubicBezTo>
                  <a:pt x="321472" y="235937"/>
                  <a:pt x="287465" y="229600"/>
                  <a:pt x="262554" y="246514"/>
                </a:cubicBezTo>
                <a:lnTo>
                  <a:pt x="240077" y="191961"/>
                </a:lnTo>
                <a:close/>
                <a:moveTo>
                  <a:pt x="1113718" y="133387"/>
                </a:moveTo>
                <a:cubicBezTo>
                  <a:pt x="1088090" y="133387"/>
                  <a:pt x="1070414" y="150935"/>
                  <a:pt x="1064532" y="176439"/>
                </a:cubicBezTo>
                <a:lnTo>
                  <a:pt x="1161733" y="176439"/>
                </a:lnTo>
                <a:cubicBezTo>
                  <a:pt x="1155732" y="148015"/>
                  <a:pt x="1137726" y="133387"/>
                  <a:pt x="1113718" y="133387"/>
                </a:cubicBezTo>
                <a:close/>
                <a:moveTo>
                  <a:pt x="1651972" y="89947"/>
                </a:moveTo>
                <a:cubicBezTo>
                  <a:pt x="1698547" y="89947"/>
                  <a:pt x="1728556" y="122542"/>
                  <a:pt x="1728556" y="174770"/>
                </a:cubicBezTo>
                <a:lnTo>
                  <a:pt x="1728556" y="295911"/>
                </a:lnTo>
                <a:lnTo>
                  <a:pt x="1677210" y="295911"/>
                </a:lnTo>
                <a:lnTo>
                  <a:pt x="1677210" y="182278"/>
                </a:lnTo>
                <a:cubicBezTo>
                  <a:pt x="1677210" y="155136"/>
                  <a:pt x="1661215" y="138005"/>
                  <a:pt x="1636397" y="138005"/>
                </a:cubicBezTo>
                <a:cubicBezTo>
                  <a:pt x="1610739" y="138005"/>
                  <a:pt x="1595163" y="155136"/>
                  <a:pt x="1595163" y="182278"/>
                </a:cubicBezTo>
                <a:lnTo>
                  <a:pt x="1595163" y="295911"/>
                </a:lnTo>
                <a:lnTo>
                  <a:pt x="1543817" y="295911"/>
                </a:lnTo>
                <a:lnTo>
                  <a:pt x="1543817" y="95787"/>
                </a:lnTo>
                <a:lnTo>
                  <a:pt x="1595163" y="95787"/>
                </a:lnTo>
                <a:lnTo>
                  <a:pt x="1595163" y="115421"/>
                </a:lnTo>
                <a:cubicBezTo>
                  <a:pt x="1607768" y="99154"/>
                  <a:pt x="1627124" y="89947"/>
                  <a:pt x="1651972" y="89947"/>
                </a:cubicBezTo>
                <a:close/>
                <a:moveTo>
                  <a:pt x="1415045" y="89947"/>
                </a:moveTo>
                <a:cubicBezTo>
                  <a:pt x="1473534" y="89947"/>
                  <a:pt x="1520259" y="137617"/>
                  <a:pt x="1520259" y="196073"/>
                </a:cubicBezTo>
                <a:cubicBezTo>
                  <a:pt x="1520640" y="254075"/>
                  <a:pt x="1473591" y="301399"/>
                  <a:pt x="1415168" y="301781"/>
                </a:cubicBezTo>
                <a:cubicBezTo>
                  <a:pt x="1415129" y="301781"/>
                  <a:pt x="1415087" y="301781"/>
                  <a:pt x="1415045" y="301781"/>
                </a:cubicBezTo>
                <a:cubicBezTo>
                  <a:pt x="1356436" y="301781"/>
                  <a:pt x="1310281" y="254141"/>
                  <a:pt x="1310281" y="196073"/>
                </a:cubicBezTo>
                <a:cubicBezTo>
                  <a:pt x="1310281" y="137588"/>
                  <a:pt x="1356556" y="89947"/>
                  <a:pt x="1415045" y="89947"/>
                </a:cubicBezTo>
                <a:close/>
                <a:moveTo>
                  <a:pt x="1112908" y="89947"/>
                </a:moveTo>
                <a:cubicBezTo>
                  <a:pt x="1170976" y="89947"/>
                  <a:pt x="1214340" y="134221"/>
                  <a:pt x="1214340" y="191902"/>
                </a:cubicBezTo>
                <a:cubicBezTo>
                  <a:pt x="1214458" y="197500"/>
                  <a:pt x="1214034" y="203098"/>
                  <a:pt x="1213080" y="208616"/>
                </a:cubicBezTo>
                <a:lnTo>
                  <a:pt x="1063692" y="208616"/>
                </a:lnTo>
                <a:cubicBezTo>
                  <a:pt x="1068734" y="236592"/>
                  <a:pt x="1090190" y="256643"/>
                  <a:pt x="1121340" y="256643"/>
                </a:cubicBezTo>
                <a:cubicBezTo>
                  <a:pt x="1139928" y="256625"/>
                  <a:pt x="1157709" y="249094"/>
                  <a:pt x="1170586" y="235788"/>
                </a:cubicBezTo>
                <a:lnTo>
                  <a:pt x="1197085" y="270468"/>
                </a:lnTo>
                <a:cubicBezTo>
                  <a:pt x="1182080" y="288016"/>
                  <a:pt x="1153331" y="301811"/>
                  <a:pt x="1119240" y="301811"/>
                </a:cubicBezTo>
                <a:cubicBezTo>
                  <a:pt x="1056520" y="301781"/>
                  <a:pt x="1011085" y="254141"/>
                  <a:pt x="1011085" y="196073"/>
                </a:cubicBezTo>
                <a:cubicBezTo>
                  <a:pt x="1011085" y="137588"/>
                  <a:pt x="1054839" y="89947"/>
                  <a:pt x="1112908" y="89947"/>
                </a:cubicBezTo>
                <a:close/>
                <a:moveTo>
                  <a:pt x="735056" y="89947"/>
                </a:moveTo>
                <a:cubicBezTo>
                  <a:pt x="761555" y="89947"/>
                  <a:pt x="782171" y="99571"/>
                  <a:pt x="796486" y="115838"/>
                </a:cubicBezTo>
                <a:lnTo>
                  <a:pt x="796486" y="95787"/>
                </a:lnTo>
                <a:lnTo>
                  <a:pt x="848253" y="95787"/>
                </a:lnTo>
                <a:lnTo>
                  <a:pt x="848253" y="295911"/>
                </a:lnTo>
                <a:lnTo>
                  <a:pt x="796486" y="295911"/>
                </a:lnTo>
                <a:lnTo>
                  <a:pt x="796486" y="274192"/>
                </a:lnTo>
                <a:cubicBezTo>
                  <a:pt x="781274" y="292151"/>
                  <a:pt x="758686" y="302296"/>
                  <a:pt x="735056" y="301781"/>
                </a:cubicBezTo>
                <a:cubicBezTo>
                  <a:pt x="681609" y="301781"/>
                  <a:pt x="638245" y="258312"/>
                  <a:pt x="638245" y="196073"/>
                </a:cubicBezTo>
                <a:cubicBezTo>
                  <a:pt x="638245" y="135502"/>
                  <a:pt x="679088" y="89947"/>
                  <a:pt x="735056" y="89947"/>
                </a:cubicBezTo>
                <a:close/>
                <a:moveTo>
                  <a:pt x="556409" y="89947"/>
                </a:moveTo>
                <a:cubicBezTo>
                  <a:pt x="590920" y="89947"/>
                  <a:pt x="618259" y="101656"/>
                  <a:pt x="635935" y="120039"/>
                </a:cubicBezTo>
                <a:lnTo>
                  <a:pt x="606465" y="156387"/>
                </a:lnTo>
                <a:cubicBezTo>
                  <a:pt x="593831" y="144044"/>
                  <a:pt x="576644" y="137397"/>
                  <a:pt x="558930" y="138005"/>
                </a:cubicBezTo>
                <a:cubicBezTo>
                  <a:pt x="525259" y="138005"/>
                  <a:pt x="502542" y="163478"/>
                  <a:pt x="502542" y="195655"/>
                </a:cubicBezTo>
                <a:cubicBezTo>
                  <a:pt x="502542" y="227833"/>
                  <a:pt x="525679" y="253724"/>
                  <a:pt x="558510" y="253724"/>
                </a:cubicBezTo>
                <a:cubicBezTo>
                  <a:pt x="577074" y="254248"/>
                  <a:pt x="595031" y="247142"/>
                  <a:pt x="608146" y="234089"/>
                </a:cubicBezTo>
                <a:lnTo>
                  <a:pt x="634254" y="271689"/>
                </a:lnTo>
                <a:cubicBezTo>
                  <a:pt x="618259" y="289238"/>
                  <a:pt x="589239" y="301781"/>
                  <a:pt x="557249" y="301781"/>
                </a:cubicBezTo>
                <a:cubicBezTo>
                  <a:pt x="498859" y="301962"/>
                  <a:pt x="451378" y="255118"/>
                  <a:pt x="451192" y="197148"/>
                </a:cubicBezTo>
                <a:cubicBezTo>
                  <a:pt x="451192" y="196791"/>
                  <a:pt x="451192" y="196430"/>
                  <a:pt x="451195" y="196073"/>
                </a:cubicBezTo>
                <a:cubicBezTo>
                  <a:pt x="451195" y="137588"/>
                  <a:pt x="497500" y="89947"/>
                  <a:pt x="556409" y="89947"/>
                </a:cubicBezTo>
                <a:close/>
                <a:moveTo>
                  <a:pt x="985847" y="89888"/>
                </a:moveTo>
                <a:cubicBezTo>
                  <a:pt x="997485" y="89483"/>
                  <a:pt x="1008916" y="93022"/>
                  <a:pt x="1018258" y="99928"/>
                </a:cubicBezTo>
                <a:lnTo>
                  <a:pt x="996771" y="148373"/>
                </a:lnTo>
                <a:cubicBezTo>
                  <a:pt x="989142" y="142652"/>
                  <a:pt x="979833" y="139575"/>
                  <a:pt x="970272" y="139613"/>
                </a:cubicBezTo>
                <a:cubicBezTo>
                  <a:pt x="949656" y="139613"/>
                  <a:pt x="936602" y="156745"/>
                  <a:pt x="936602" y="183887"/>
                </a:cubicBezTo>
                <a:lnTo>
                  <a:pt x="936602" y="295911"/>
                </a:lnTo>
                <a:lnTo>
                  <a:pt x="885285" y="295911"/>
                </a:lnTo>
                <a:lnTo>
                  <a:pt x="885285" y="95787"/>
                </a:lnTo>
                <a:lnTo>
                  <a:pt x="936602" y="95787"/>
                </a:lnTo>
                <a:lnTo>
                  <a:pt x="936602" y="117477"/>
                </a:lnTo>
                <a:cubicBezTo>
                  <a:pt x="947975" y="100763"/>
                  <a:pt x="964811" y="89888"/>
                  <a:pt x="985847" y="89888"/>
                </a:cubicBezTo>
                <a:close/>
                <a:moveTo>
                  <a:pt x="1235377" y="8491"/>
                </a:moveTo>
                <a:lnTo>
                  <a:pt x="1286724" y="8491"/>
                </a:lnTo>
                <a:lnTo>
                  <a:pt x="1286724" y="295912"/>
                </a:lnTo>
                <a:lnTo>
                  <a:pt x="1235377" y="295912"/>
                </a:lnTo>
                <a:close/>
                <a:moveTo>
                  <a:pt x="93300" y="0"/>
                </a:moveTo>
                <a:lnTo>
                  <a:pt x="93300" y="30"/>
                </a:lnTo>
                <a:cubicBezTo>
                  <a:pt x="98678" y="12"/>
                  <a:pt x="104044" y="456"/>
                  <a:pt x="109343" y="1359"/>
                </a:cubicBezTo>
                <a:cubicBezTo>
                  <a:pt x="147325" y="7825"/>
                  <a:pt x="175950" y="36300"/>
                  <a:pt x="184225" y="71343"/>
                </a:cubicBezTo>
                <a:lnTo>
                  <a:pt x="185309" y="107978"/>
                </a:lnTo>
                <a:lnTo>
                  <a:pt x="193382" y="111280"/>
                </a:lnTo>
                <a:lnTo>
                  <a:pt x="201244" y="106930"/>
                </a:lnTo>
                <a:cubicBezTo>
                  <a:pt x="200494" y="102199"/>
                  <a:pt x="200122" y="97417"/>
                  <a:pt x="200134" y="92629"/>
                </a:cubicBezTo>
                <a:cubicBezTo>
                  <a:pt x="200134" y="41470"/>
                  <a:pt x="241904" y="0"/>
                  <a:pt x="293434" y="0"/>
                </a:cubicBezTo>
                <a:lnTo>
                  <a:pt x="293434" y="149"/>
                </a:lnTo>
                <a:cubicBezTo>
                  <a:pt x="298608" y="149"/>
                  <a:pt x="303772" y="578"/>
                  <a:pt x="308877" y="1431"/>
                </a:cubicBezTo>
                <a:cubicBezTo>
                  <a:pt x="359692" y="9910"/>
                  <a:pt x="393963" y="57681"/>
                  <a:pt x="385423" y="108131"/>
                </a:cubicBezTo>
                <a:cubicBezTo>
                  <a:pt x="376882" y="158580"/>
                  <a:pt x="328764" y="192605"/>
                  <a:pt x="277949" y="184126"/>
                </a:cubicBezTo>
                <a:lnTo>
                  <a:pt x="293344" y="147062"/>
                </a:lnTo>
                <a:cubicBezTo>
                  <a:pt x="304384" y="147080"/>
                  <a:pt x="315173" y="143779"/>
                  <a:pt x="324287" y="137591"/>
                </a:cubicBezTo>
                <a:cubicBezTo>
                  <a:pt x="349198" y="120674"/>
                  <a:pt x="355581" y="86912"/>
                  <a:pt x="338544" y="62180"/>
                </a:cubicBezTo>
                <a:cubicBezTo>
                  <a:pt x="321505" y="37448"/>
                  <a:pt x="287498" y="31111"/>
                  <a:pt x="262587" y="48025"/>
                </a:cubicBezTo>
                <a:cubicBezTo>
                  <a:pt x="237676" y="64942"/>
                  <a:pt x="231293" y="98704"/>
                  <a:pt x="248329" y="123436"/>
                </a:cubicBezTo>
                <a:lnTo>
                  <a:pt x="193382" y="145602"/>
                </a:lnTo>
                <a:lnTo>
                  <a:pt x="138524" y="123168"/>
                </a:lnTo>
                <a:lnTo>
                  <a:pt x="148003" y="92731"/>
                </a:lnTo>
                <a:lnTo>
                  <a:pt x="138468" y="62028"/>
                </a:lnTo>
                <a:cubicBezTo>
                  <a:pt x="121428" y="37296"/>
                  <a:pt x="87421" y="30959"/>
                  <a:pt x="62510" y="47873"/>
                </a:cubicBezTo>
                <a:cubicBezTo>
                  <a:pt x="37599" y="64790"/>
                  <a:pt x="31216" y="98552"/>
                  <a:pt x="48253" y="123284"/>
                </a:cubicBezTo>
                <a:cubicBezTo>
                  <a:pt x="65292" y="148016"/>
                  <a:pt x="99299" y="154353"/>
                  <a:pt x="124210" y="137439"/>
                </a:cubicBezTo>
                <a:lnTo>
                  <a:pt x="146657" y="191961"/>
                </a:lnTo>
                <a:lnTo>
                  <a:pt x="124000" y="246424"/>
                </a:lnTo>
                <a:cubicBezTo>
                  <a:pt x="120279" y="243880"/>
                  <a:pt x="116242" y="241818"/>
                  <a:pt x="111996" y="240287"/>
                </a:cubicBezTo>
                <a:cubicBezTo>
                  <a:pt x="106033" y="238130"/>
                  <a:pt x="99737" y="237018"/>
                  <a:pt x="93390" y="237009"/>
                </a:cubicBezTo>
                <a:cubicBezTo>
                  <a:pt x="82349" y="236991"/>
                  <a:pt x="71561" y="240292"/>
                  <a:pt x="62447" y="246480"/>
                </a:cubicBezTo>
                <a:cubicBezTo>
                  <a:pt x="37536" y="263397"/>
                  <a:pt x="31153" y="297159"/>
                  <a:pt x="48189" y="321891"/>
                </a:cubicBezTo>
                <a:cubicBezTo>
                  <a:pt x="65229" y="346623"/>
                  <a:pt x="99236" y="352960"/>
                  <a:pt x="124147" y="336046"/>
                </a:cubicBezTo>
                <a:cubicBezTo>
                  <a:pt x="149058" y="319129"/>
                  <a:pt x="155441" y="285367"/>
                  <a:pt x="138404" y="260635"/>
                </a:cubicBezTo>
                <a:lnTo>
                  <a:pt x="193382" y="238320"/>
                </a:lnTo>
                <a:lnTo>
                  <a:pt x="248210" y="260754"/>
                </a:lnTo>
                <a:cubicBezTo>
                  <a:pt x="242079" y="269746"/>
                  <a:pt x="238790" y="280347"/>
                  <a:pt x="238757" y="291203"/>
                </a:cubicBezTo>
                <a:lnTo>
                  <a:pt x="193382" y="272642"/>
                </a:lnTo>
                <a:lnTo>
                  <a:pt x="185519" y="276992"/>
                </a:lnTo>
                <a:cubicBezTo>
                  <a:pt x="187056" y="286782"/>
                  <a:pt x="186999" y="296754"/>
                  <a:pt x="185351" y="306526"/>
                </a:cubicBezTo>
                <a:cubicBezTo>
                  <a:pt x="176850" y="356949"/>
                  <a:pt x="128786" y="390983"/>
                  <a:pt x="77998" y="382542"/>
                </a:cubicBezTo>
                <a:cubicBezTo>
                  <a:pt x="27209" y="374102"/>
                  <a:pt x="-7071" y="326384"/>
                  <a:pt x="1431" y="275961"/>
                </a:cubicBezTo>
                <a:cubicBezTo>
                  <a:pt x="7808" y="238144"/>
                  <a:pt x="36437" y="209546"/>
                  <a:pt x="71780" y="201171"/>
                </a:cubicBezTo>
                <a:lnTo>
                  <a:pt x="108762" y="199946"/>
                </a:lnTo>
                <a:lnTo>
                  <a:pt x="112086" y="191932"/>
                </a:lnTo>
                <a:lnTo>
                  <a:pt x="107705" y="184155"/>
                </a:lnTo>
                <a:cubicBezTo>
                  <a:pt x="102939" y="184900"/>
                  <a:pt x="98123" y="185270"/>
                  <a:pt x="93300" y="185258"/>
                </a:cubicBezTo>
                <a:cubicBezTo>
                  <a:pt x="41770" y="185258"/>
                  <a:pt x="0" y="143788"/>
                  <a:pt x="0" y="92629"/>
                </a:cubicBezTo>
                <a:cubicBezTo>
                  <a:pt x="0" y="41470"/>
                  <a:pt x="41770" y="0"/>
                  <a:pt x="93300" y="0"/>
                </a:cubicBezTo>
                <a:close/>
              </a:path>
            </a:pathLst>
          </a:custGeom>
          <a:solidFill>
            <a:schemeClr val="bg1"/>
          </a:solidFill>
        </p:spPr>
        <p:txBody>
          <a:bodyPr wrap="square">
            <a:noAutofit/>
          </a:bodyPr>
          <a:lstStyle>
            <a:lvl1pPr>
              <a:defRPr sz="100">
                <a:solidFill>
                  <a:schemeClr val="bg1">
                    <a:alpha val="0"/>
                  </a:schemeClr>
                </a:solidFill>
              </a:defRPr>
            </a:lvl1pPr>
          </a:lstStyle>
          <a:p>
            <a:pPr lvl="0"/>
            <a:r>
              <a:rPr lang="en-US"/>
              <a:t>Click to edit Master text styles</a:t>
            </a:r>
          </a:p>
        </p:txBody>
      </p:sp>
    </p:spTree>
    <p:extLst>
      <p:ext uri="{BB962C8B-B14F-4D97-AF65-F5344CB8AC3E}">
        <p14:creationId xmlns:p14="http://schemas.microsoft.com/office/powerpoint/2010/main" val="29723076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23114C3-EDAA-984F-A7E5-1E563968A441}"/>
              </a:ext>
            </a:extLst>
          </p:cNvPr>
          <p:cNvSpPr>
            <a:spLocks noGrp="1"/>
          </p:cNvSpPr>
          <p:nvPr>
            <p:ph type="pic" sz="quarter" idx="10"/>
          </p:nvPr>
        </p:nvSpPr>
        <p:spPr>
          <a:xfrm>
            <a:off x="0" y="0"/>
            <a:ext cx="12192000" cy="3441700"/>
          </a:xfrm>
          <a:solidFill>
            <a:schemeClr val="bg1">
              <a:lumMod val="95000"/>
            </a:schemeClr>
          </a:solidFill>
        </p:spPr>
        <p:txBody>
          <a:bodyPr/>
          <a:lstStyle>
            <a:lvl1pPr marL="0" indent="0">
              <a:buNone/>
              <a:defRPr sz="1200"/>
            </a:lvl1pPr>
          </a:lstStyle>
          <a:p>
            <a:r>
              <a:rPr lang="en-US"/>
              <a:t>Click icon to add picture</a:t>
            </a:r>
            <a:endParaRPr lang="en-US" dirty="0"/>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876609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4B6E5172-0EAF-9541-B6B0-E49938BC848D}"/>
              </a:ext>
            </a:extLst>
          </p:cNvPr>
          <p:cNvSpPr>
            <a:spLocks noGrp="1"/>
          </p:cNvSpPr>
          <p:nvPr>
            <p:ph type="ctrTitle" hasCustomPrompt="1"/>
          </p:nvPr>
        </p:nvSpPr>
        <p:spPr>
          <a:xfrm>
            <a:off x="457198" y="3759716"/>
            <a:ext cx="9366251" cy="622714"/>
          </a:xfrm>
        </p:spPr>
        <p:txBody>
          <a:bodyPr vert="horz" anchor="t"/>
          <a:lstStyle>
            <a:lvl1pPr algn="l">
              <a:defRPr sz="5000">
                <a:solidFill>
                  <a:schemeClr val="tx1"/>
                </a:solidFill>
              </a:defRPr>
            </a:lvl1pPr>
          </a:lstStyle>
          <a:p>
            <a:r>
              <a:rPr lang="en-US" dirty="0"/>
              <a:t>Click to add presentation title</a:t>
            </a:r>
          </a:p>
        </p:txBody>
      </p:sp>
      <p:sp>
        <p:nvSpPr>
          <p:cNvPr id="11" name="Subtitle 2">
            <a:extLst>
              <a:ext uri="{FF2B5EF4-FFF2-40B4-BE49-F238E27FC236}">
                <a16:creationId xmlns:a16="http://schemas.microsoft.com/office/drawing/2014/main" id="{E3B28E96-F998-4145-AFD3-BC0901E28925}"/>
              </a:ext>
            </a:extLst>
          </p:cNvPr>
          <p:cNvSpPr>
            <a:spLocks noGrp="1"/>
          </p:cNvSpPr>
          <p:nvPr>
            <p:ph type="subTitle" idx="1" hasCustomPrompt="1"/>
          </p:nvPr>
        </p:nvSpPr>
        <p:spPr>
          <a:xfrm>
            <a:off x="457198" y="5143500"/>
            <a:ext cx="5638800" cy="228600"/>
          </a:xfrm>
        </p:spPr>
        <p:txBody>
          <a:bodyPr/>
          <a:lstStyle>
            <a:lvl1pPr marL="0" indent="0" algn="l">
              <a:buNone/>
              <a:defRPr sz="18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ext Placeholder 11">
            <a:extLst>
              <a:ext uri="{FF2B5EF4-FFF2-40B4-BE49-F238E27FC236}">
                <a16:creationId xmlns:a16="http://schemas.microsoft.com/office/drawing/2014/main" id="{5BCB3DBE-7952-BD46-A5A1-E42AA39DD513}"/>
              </a:ext>
            </a:extLst>
          </p:cNvPr>
          <p:cNvSpPr>
            <a:spLocks noGrp="1"/>
          </p:cNvSpPr>
          <p:nvPr>
            <p:ph type="body" sz="quarter" idx="11" hasCustomPrompt="1"/>
          </p:nvPr>
        </p:nvSpPr>
        <p:spPr>
          <a:xfrm>
            <a:off x="457198" y="5385850"/>
            <a:ext cx="5638800" cy="224536"/>
          </a:xfrm>
        </p:spPr>
        <p:txBody>
          <a:bodyPr vert="horz" lIns="0" tIns="0" rIns="0" bIns="0" rtlCol="0">
            <a:noAutofit/>
          </a:bodyPr>
          <a:lstStyle>
            <a:lvl1pPr>
              <a:defRPr lang="en-US" sz="1800" i="0" dirty="0">
                <a:latin typeface="+mn-lt"/>
              </a:defRPr>
            </a:lvl1pPr>
          </a:lstStyle>
          <a:p>
            <a:pPr lvl="0"/>
            <a:r>
              <a:rPr lang="en-US" dirty="0"/>
              <a:t>Click to add date</a:t>
            </a:r>
          </a:p>
        </p:txBody>
      </p:sp>
      <p:pic>
        <p:nvPicPr>
          <p:cNvPr id="12" name="Graphic 11">
            <a:extLst>
              <a:ext uri="{FF2B5EF4-FFF2-40B4-BE49-F238E27FC236}">
                <a16:creationId xmlns:a16="http://schemas.microsoft.com/office/drawing/2014/main" id="{26A3A06A-A1A0-D902-0E0F-70ABAC4575B6}"/>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3341" y="6156161"/>
            <a:ext cx="1785575" cy="384339"/>
          </a:xfrm>
          <a:prstGeom prst="rect">
            <a:avLst/>
          </a:prstGeom>
        </p:spPr>
      </p:pic>
    </p:spTree>
    <p:extLst>
      <p:ext uri="{BB962C8B-B14F-4D97-AF65-F5344CB8AC3E}">
        <p14:creationId xmlns:p14="http://schemas.microsoft.com/office/powerpoint/2010/main" val="65685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905094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dirty="0"/>
              <a:t>Click to edit master title style</a:t>
            </a:r>
          </a:p>
        </p:txBody>
      </p:sp>
      <p:sp>
        <p:nvSpPr>
          <p:cNvPr id="3" name="Content Placeholder 2">
            <a:extLst>
              <a:ext uri="{FF2B5EF4-FFF2-40B4-BE49-F238E27FC236}">
                <a16:creationId xmlns:a16="http://schemas.microsoft.com/office/drawing/2014/main" id="{24FC1E18-3994-4821-BBED-2E435EACD903}"/>
              </a:ext>
            </a:extLst>
          </p:cNvPr>
          <p:cNvSpPr>
            <a:spLocks noGrp="1"/>
          </p:cNvSpPr>
          <p:nvPr>
            <p:ph idx="1" hasCustomPrompt="1"/>
          </p:nvPr>
        </p:nvSpPr>
        <p:spPr>
          <a:xfrm>
            <a:off x="457200" y="1694048"/>
            <a:ext cx="11292840" cy="4313052"/>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1" name="TextBox 10">
            <a:extLst>
              <a:ext uri="{FF2B5EF4-FFF2-40B4-BE49-F238E27FC236}">
                <a16:creationId xmlns:a16="http://schemas.microsoft.com/office/drawing/2014/main" id="{AFD28C7D-8653-A64D-9D01-E67E0D43199F}"/>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4" name="Text Placeholder 3">
            <a:extLst>
              <a:ext uri="{FF2B5EF4-FFF2-40B4-BE49-F238E27FC236}">
                <a16:creationId xmlns:a16="http://schemas.microsoft.com/office/drawing/2014/main" id="{00097867-8AC3-DDD4-59B3-00B7ED7B0081}"/>
              </a:ext>
            </a:extLst>
          </p:cNvPr>
          <p:cNvSpPr>
            <a:spLocks noGrp="1"/>
          </p:cNvSpPr>
          <p:nvPr>
            <p:ph type="body" sz="half" idx="2" hasCustomPrompt="1"/>
          </p:nvPr>
        </p:nvSpPr>
        <p:spPr>
          <a:xfrm>
            <a:off x="1461052" y="6271591"/>
            <a:ext cx="9321248" cy="300988"/>
          </a:xfrm>
        </p:spPr>
        <p:txBody>
          <a:bodyPr anchor="b" anchorCtr="0"/>
          <a:lstStyle>
            <a:lvl1pPr marL="0" indent="0" algn="l">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9967442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E45441-7E5B-8F4F-AEE9-C817B4D674E4}"/>
              </a:ext>
            </a:extLst>
          </p:cNvPr>
          <p:cNvGraphicFramePr>
            <a:graphicFrameLocks noChangeAspect="1"/>
          </p:cNvGraphicFramePr>
          <p:nvPr>
            <p:custDataLst>
              <p:tags r:id="rId42"/>
            </p:custDataLst>
            <p:extLst>
              <p:ext uri="{D42A27DB-BD31-4B8C-83A1-F6EECF244321}">
                <p14:modId xmlns:p14="http://schemas.microsoft.com/office/powerpoint/2010/main" val="36102931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3" imgW="7772400" imgH="10058400" progId="TCLayout.ActiveDocument.1">
                  <p:embed/>
                </p:oleObj>
              </mc:Choice>
              <mc:Fallback>
                <p:oleObj name="think-cell Slide" r:id="rId43" imgW="7772400" imgH="10058400" progId="TCLayout.ActiveDocument.1">
                  <p:embed/>
                  <p:pic>
                    <p:nvPicPr>
                      <p:cNvPr id="7" name="Object 6" hidden="1">
                        <a:extLst>
                          <a:ext uri="{FF2B5EF4-FFF2-40B4-BE49-F238E27FC236}">
                            <a16:creationId xmlns:a16="http://schemas.microsoft.com/office/drawing/2014/main" id="{4FE45441-7E5B-8F4F-AEE9-C817B4D674E4}"/>
                          </a:ext>
                        </a:extLst>
                      </p:cNvPr>
                      <p:cNvPicPr/>
                      <p:nvPr/>
                    </p:nvPicPr>
                    <p:blipFill>
                      <a:blip r:embed="rId44"/>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C88F042-2AFB-42B5-BB01-4498F4506EAD}"/>
              </a:ext>
            </a:extLst>
          </p:cNvPr>
          <p:cNvSpPr>
            <a:spLocks noGrp="1"/>
          </p:cNvSpPr>
          <p:nvPr>
            <p:ph type="title"/>
          </p:nvPr>
        </p:nvSpPr>
        <p:spPr>
          <a:xfrm>
            <a:off x="457200" y="384048"/>
            <a:ext cx="11274552" cy="82296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BA90925-69FD-4467-9C11-D2AEE94BABAD}"/>
              </a:ext>
            </a:extLst>
          </p:cNvPr>
          <p:cNvSpPr>
            <a:spLocks noGrp="1"/>
          </p:cNvSpPr>
          <p:nvPr>
            <p:ph type="body" idx="1"/>
          </p:nvPr>
        </p:nvSpPr>
        <p:spPr>
          <a:xfrm>
            <a:off x="457200" y="1694048"/>
            <a:ext cx="11274552" cy="43130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Box 25">
            <a:extLst>
              <a:ext uri="{FF2B5EF4-FFF2-40B4-BE49-F238E27FC236}">
                <a16:creationId xmlns:a16="http://schemas.microsoft.com/office/drawing/2014/main" id="{ED412B9A-E70E-6449-8DEF-3E56B12E4331}"/>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pic>
        <p:nvPicPr>
          <p:cNvPr id="5" name="Graphic 4">
            <a:extLst>
              <a:ext uri="{FF2B5EF4-FFF2-40B4-BE49-F238E27FC236}">
                <a16:creationId xmlns:a16="http://schemas.microsoft.com/office/drawing/2014/main" id="{57BC2DB0-7F5A-4142-B10E-47FE768EB3DC}"/>
              </a:ext>
            </a:extLst>
          </p:cNvPr>
          <p:cNvPicPr>
            <a:picLocks noChangeAspect="1"/>
          </p:cNvPicPr>
          <p:nvPr/>
        </p:nvPicPr>
        <p:blipFill>
          <a:blip r:embed="rId45" cstate="screen">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457199" y="6181343"/>
            <a:ext cx="365760" cy="365760"/>
          </a:xfrm>
          <a:prstGeom prst="rect">
            <a:avLst/>
          </a:prstGeom>
        </p:spPr>
      </p:pic>
    </p:spTree>
    <p:extLst>
      <p:ext uri="{BB962C8B-B14F-4D97-AF65-F5344CB8AC3E}">
        <p14:creationId xmlns:p14="http://schemas.microsoft.com/office/powerpoint/2010/main" val="64630813"/>
      </p:ext>
    </p:extLst>
  </p:cSld>
  <p:clrMap bg1="lt1" tx1="dk1" bg2="lt2" tx2="dk2" accent1="accent1" accent2="accent2" accent3="accent3" accent4="accent4" accent5="accent5" accent6="accent6" hlink="hlink" folHlink="folHlink"/>
  <p:sldLayoutIdLst>
    <p:sldLayoutId id="2147483697" r:id="rId1"/>
    <p:sldLayoutId id="2147483662" r:id="rId2"/>
    <p:sldLayoutId id="2147483663" r:id="rId3"/>
    <p:sldLayoutId id="2147483699" r:id="rId4"/>
    <p:sldLayoutId id="2147483700" r:id="rId5"/>
    <p:sldLayoutId id="2147483701"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704" r:id="rId15"/>
    <p:sldLayoutId id="2147483694" r:id="rId16"/>
    <p:sldLayoutId id="2147483695" r:id="rId17"/>
    <p:sldLayoutId id="2147483696" r:id="rId18"/>
    <p:sldLayoutId id="2147483672" r:id="rId19"/>
    <p:sldLayoutId id="2147483673" r:id="rId20"/>
    <p:sldLayoutId id="2147483674" r:id="rId21"/>
    <p:sldLayoutId id="2147483675" r:id="rId22"/>
    <p:sldLayoutId id="2147483676" r:id="rId23"/>
    <p:sldLayoutId id="2147483677" r:id="rId24"/>
    <p:sldLayoutId id="2147483678" r:id="rId25"/>
    <p:sldLayoutId id="2147483703" r:id="rId26"/>
    <p:sldLayoutId id="2147483679" r:id="rId27"/>
    <p:sldLayoutId id="2147483680" r:id="rId28"/>
    <p:sldLayoutId id="2147483681" r:id="rId29"/>
    <p:sldLayoutId id="2147483682" r:id="rId30"/>
    <p:sldLayoutId id="2147483683" r:id="rId31"/>
    <p:sldLayoutId id="2147483684" r:id="rId32"/>
    <p:sldLayoutId id="2147483685" r:id="rId33"/>
    <p:sldLayoutId id="2147483686" r:id="rId34"/>
    <p:sldLayoutId id="2147483687" r:id="rId35"/>
    <p:sldLayoutId id="2147483688" r:id="rId36"/>
    <p:sldLayoutId id="2147483689" r:id="rId37"/>
    <p:sldLayoutId id="2147483693" r:id="rId38"/>
    <p:sldLayoutId id="2147483692" r:id="rId39"/>
    <p:sldLayoutId id="2147483690" r:id="rId40"/>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2000"/>
        </a:spcBef>
        <a:buClr>
          <a:schemeClr val="tx2"/>
        </a:buClr>
        <a:buFont typeface="Elevance Sans" pitchFamily="2" charset="0"/>
        <a:buNone/>
        <a:tabLst/>
        <a:defRPr sz="2000" b="0" i="0" kern="1200">
          <a:solidFill>
            <a:schemeClr val="tx2"/>
          </a:solidFill>
          <a:latin typeface="Elevance Sans Medium" pitchFamily="2" charset="0"/>
          <a:ea typeface="+mn-ea"/>
          <a:cs typeface="+mn-cs"/>
        </a:defRPr>
      </a:lvl1pPr>
      <a:lvl2pPr marL="0" indent="0" algn="l" defTabSz="914400" rtl="0" eaLnBrk="1" latinLnBrk="0" hangingPunct="1">
        <a:lnSpc>
          <a:spcPct val="100000"/>
        </a:lnSpc>
        <a:spcBef>
          <a:spcPts val="2000"/>
        </a:spcBef>
        <a:buClr>
          <a:schemeClr val="tx2"/>
        </a:buClr>
        <a:buFont typeface="Elevance Sans" pitchFamily="2" charset="0"/>
        <a:buNone/>
        <a:tabLst/>
        <a:defRPr sz="2000" kern="1200">
          <a:solidFill>
            <a:schemeClr val="tx2"/>
          </a:solidFill>
          <a:latin typeface="+mn-lt"/>
          <a:ea typeface="+mn-ea"/>
          <a:cs typeface="+mn-cs"/>
        </a:defRPr>
      </a:lvl2pPr>
      <a:lvl3pPr marL="228600" indent="-228600" algn="l" defTabSz="914400" rtl="0" eaLnBrk="1" latinLnBrk="0" hangingPunct="1">
        <a:lnSpc>
          <a:spcPct val="100000"/>
        </a:lnSpc>
        <a:spcBef>
          <a:spcPts val="2000"/>
        </a:spcBef>
        <a:buClr>
          <a:schemeClr val="tx2"/>
        </a:buClr>
        <a:buFont typeface="Elevance Sans" pitchFamily="2" charset="0"/>
        <a:buChar char="•"/>
        <a:tabLst/>
        <a:defRPr sz="2000" kern="1200">
          <a:solidFill>
            <a:schemeClr val="tx2"/>
          </a:solidFill>
          <a:latin typeface="+mn-lt"/>
          <a:ea typeface="+mn-ea"/>
          <a:cs typeface="+mn-cs"/>
        </a:defRPr>
      </a:lvl3pPr>
      <a:lvl4pPr marL="457200" indent="-231775" algn="l" defTabSz="914400" rtl="0" eaLnBrk="1" latinLnBrk="0" hangingPunct="1">
        <a:lnSpc>
          <a:spcPct val="100000"/>
        </a:lnSpc>
        <a:spcBef>
          <a:spcPts val="2000"/>
        </a:spcBef>
        <a:buClr>
          <a:schemeClr val="tx2"/>
        </a:buClr>
        <a:buFont typeface="Elevance Sans" pitchFamily="2" charset="0"/>
        <a:buChar char="–"/>
        <a:tabLst/>
        <a:defRPr sz="2000" kern="1200">
          <a:solidFill>
            <a:schemeClr val="tx2"/>
          </a:solidFill>
          <a:latin typeface="+mn-lt"/>
          <a:ea typeface="+mn-ea"/>
          <a:cs typeface="+mn-cs"/>
        </a:defRPr>
      </a:lvl4pPr>
      <a:lvl5pPr marL="685800" indent="-228600" algn="l" defTabSz="914400" rtl="0" eaLnBrk="1" latinLnBrk="0" hangingPunct="1">
        <a:lnSpc>
          <a:spcPct val="100000"/>
        </a:lnSpc>
        <a:spcBef>
          <a:spcPts val="2000"/>
        </a:spcBef>
        <a:buClr>
          <a:schemeClr val="tx2"/>
        </a:buClr>
        <a:buFont typeface="Elevance Sans" pitchFamily="2" charset="0"/>
        <a:buChar char="•"/>
        <a:tabLst/>
        <a:defRPr sz="2000" kern="1200">
          <a:solidFill>
            <a:schemeClr val="tx2"/>
          </a:solidFill>
          <a:latin typeface="+mn-lt"/>
          <a:ea typeface="+mn-ea"/>
          <a:cs typeface="+mn-cs"/>
        </a:defRPr>
      </a:lvl5pPr>
      <a:lvl6pPr marL="859536" indent="-173736" algn="l" defTabSz="914400" rtl="0" eaLnBrk="1" latinLnBrk="0" hangingPunct="1">
        <a:lnSpc>
          <a:spcPct val="100000"/>
        </a:lnSpc>
        <a:spcBef>
          <a:spcPts val="2000"/>
        </a:spcBef>
        <a:buClr>
          <a:schemeClr val="tx2"/>
        </a:buClr>
        <a:buFont typeface="Elevance Sans" pitchFamily="2" charset="0"/>
        <a:buChar char="•"/>
        <a:defRPr sz="2000" kern="1200">
          <a:solidFill>
            <a:schemeClr val="tx2"/>
          </a:solidFill>
          <a:latin typeface="+mn-lt"/>
          <a:ea typeface="+mn-ea"/>
          <a:cs typeface="+mn-cs"/>
        </a:defRPr>
      </a:lvl6pPr>
      <a:lvl7pPr marL="29718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11" orient="horz" pos="552">
          <p15:clr>
            <a:srgbClr val="F26B43"/>
          </p15:clr>
        </p15:guide>
        <p15:guide id="12" pos="7680">
          <p15:clr>
            <a:srgbClr val="F26B43"/>
          </p15:clr>
        </p15:guide>
        <p15:guide id="13" orient="horz" pos="1088">
          <p15:clr>
            <a:srgbClr val="F26B43"/>
          </p15:clr>
        </p15:guide>
        <p15:guide id="14" orient="horz" pos="1624">
          <p15:clr>
            <a:srgbClr val="F26B43"/>
          </p15:clr>
        </p15:guide>
        <p15:guide id="15" orient="horz" pos="2168">
          <p15:clr>
            <a:srgbClr val="F26B43"/>
          </p15:clr>
        </p15:guide>
        <p15:guide id="16" orient="horz" pos="2704">
          <p15:clr>
            <a:srgbClr val="F26B43"/>
          </p15:clr>
        </p15:guide>
        <p15:guide id="17" orient="horz" pos="3240">
          <p15:clr>
            <a:srgbClr val="F26B43"/>
          </p15:clr>
        </p15:guide>
        <p15:guide id="18" orient="horz" pos="3784">
          <p15:clr>
            <a:srgbClr val="F26B43"/>
          </p15:clr>
        </p15:guide>
        <p15:guide id="19" orient="horz" pos="4120">
          <p15:clr>
            <a:srgbClr val="F26B43"/>
          </p15:clr>
        </p15:guide>
        <p15:guide id="20" orient="horz" pos="272">
          <p15:clr>
            <a:srgbClr val="F26B43"/>
          </p15:clr>
        </p15:guide>
        <p15:guide id="21" pos="288">
          <p15:clr>
            <a:srgbClr val="F26B43"/>
          </p15:clr>
        </p15:guide>
        <p15:guide id="22" pos="7392">
          <p15:clr>
            <a:srgbClr val="F26B43"/>
          </p15:clr>
        </p15:guide>
        <p15:guide id="23">
          <p15:clr>
            <a:srgbClr val="F26B43"/>
          </p15:clr>
        </p15:guide>
        <p15:guide id="24" orient="horz" pos="4320">
          <p15:clr>
            <a:srgbClr val="F26B43"/>
          </p15:clr>
        </p15:guide>
        <p15:guide id="25" pos="894">
          <p15:clr>
            <a:srgbClr val="F26B43"/>
          </p15:clr>
        </p15:guide>
        <p15:guide id="26" pos="750">
          <p15:clr>
            <a:srgbClr val="F26B43"/>
          </p15:clr>
        </p15:guide>
        <p15:guide id="27" pos="1498">
          <p15:clr>
            <a:srgbClr val="F26B43"/>
          </p15:clr>
        </p15:guide>
        <p15:guide id="28" pos="1354">
          <p15:clr>
            <a:srgbClr val="F26B43"/>
          </p15:clr>
        </p15:guide>
        <p15:guide id="29" pos="2102">
          <p15:clr>
            <a:srgbClr val="F26B43"/>
          </p15:clr>
        </p15:guide>
        <p15:guide id="30" pos="1958">
          <p15:clr>
            <a:srgbClr val="F26B43"/>
          </p15:clr>
        </p15:guide>
        <p15:guide id="31" pos="2706">
          <p15:clr>
            <a:srgbClr val="F26B43"/>
          </p15:clr>
        </p15:guide>
        <p15:guide id="32" pos="2562">
          <p15:clr>
            <a:srgbClr val="F26B43"/>
          </p15:clr>
        </p15:guide>
        <p15:guide id="33" pos="3311">
          <p15:clr>
            <a:srgbClr val="F26B43"/>
          </p15:clr>
        </p15:guide>
        <p15:guide id="34" pos="3167">
          <p15:clr>
            <a:srgbClr val="F26B43"/>
          </p15:clr>
        </p15:guide>
        <p15:guide id="35" pos="3915">
          <p15:clr>
            <a:srgbClr val="F26B43"/>
          </p15:clr>
        </p15:guide>
        <p15:guide id="36" pos="3771">
          <p15:clr>
            <a:srgbClr val="F26B43"/>
          </p15:clr>
        </p15:guide>
        <p15:guide id="37" pos="4519">
          <p15:clr>
            <a:srgbClr val="F26B43"/>
          </p15:clr>
        </p15:guide>
        <p15:guide id="38" pos="4375">
          <p15:clr>
            <a:srgbClr val="F26B43"/>
          </p15:clr>
        </p15:guide>
        <p15:guide id="39" pos="5123">
          <p15:clr>
            <a:srgbClr val="F26B43"/>
          </p15:clr>
        </p15:guide>
        <p15:guide id="40" pos="4979">
          <p15:clr>
            <a:srgbClr val="F26B43"/>
          </p15:clr>
        </p15:guide>
        <p15:guide id="41" pos="5728">
          <p15:clr>
            <a:srgbClr val="F26B43"/>
          </p15:clr>
        </p15:guide>
        <p15:guide id="42" pos="5584">
          <p15:clr>
            <a:srgbClr val="F26B43"/>
          </p15:clr>
        </p15:guide>
        <p15:guide id="43" pos="6332">
          <p15:clr>
            <a:srgbClr val="F26B43"/>
          </p15:clr>
        </p15:guide>
        <p15:guide id="44" pos="6188">
          <p15:clr>
            <a:srgbClr val="F26B43"/>
          </p15:clr>
        </p15:guide>
        <p15:guide id="45" pos="6936">
          <p15:clr>
            <a:srgbClr val="F26B43"/>
          </p15:clr>
        </p15:guide>
        <p15:guide id="46" pos="679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0A0F69B-72CA-54A1-0AA6-BD3C0E24AB3C}"/>
              </a:ext>
            </a:extLst>
          </p:cNvPr>
          <p:cNvSpPr>
            <a:spLocks noGrp="1"/>
          </p:cNvSpPr>
          <p:nvPr>
            <p:ph type="ctrTitle"/>
          </p:nvPr>
        </p:nvSpPr>
        <p:spPr/>
        <p:txBody>
          <a:bodyPr/>
          <a:lstStyle/>
          <a:p>
            <a:r>
              <a:rPr lang="en-US" dirty="0"/>
              <a:t>High-Risk Newborn Pregnancy Prediction Model- Iteration 4 V1 &amp; V3</a:t>
            </a:r>
          </a:p>
        </p:txBody>
      </p:sp>
    </p:spTree>
    <p:extLst>
      <p:ext uri="{BB962C8B-B14F-4D97-AF65-F5344CB8AC3E}">
        <p14:creationId xmlns:p14="http://schemas.microsoft.com/office/powerpoint/2010/main" val="31284601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D3E0A24-F0A3-F04C-BD7C-42987DA04792}"/>
              </a:ext>
            </a:extLst>
          </p:cNvPr>
          <p:cNvSpPr>
            <a:spLocks noGrp="1"/>
          </p:cNvSpPr>
          <p:nvPr>
            <p:ph type="body" sz="quarter" idx="12"/>
          </p:nvPr>
        </p:nvSpPr>
        <p:spPr/>
        <p:txBody>
          <a:bodyPr/>
          <a:lstStyle/>
          <a:p>
            <a:r>
              <a:rPr lang="en-US" dirty="0"/>
              <a:t>Thank you!</a:t>
            </a:r>
          </a:p>
        </p:txBody>
      </p:sp>
    </p:spTree>
    <p:extLst>
      <p:ext uri="{BB962C8B-B14F-4D97-AF65-F5344CB8AC3E}">
        <p14:creationId xmlns:p14="http://schemas.microsoft.com/office/powerpoint/2010/main" val="7754502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2340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BF5DD-3273-B21A-A7E6-DB76A6C99587}"/>
              </a:ext>
            </a:extLst>
          </p:cNvPr>
          <p:cNvSpPr>
            <a:spLocks noGrp="1"/>
          </p:cNvSpPr>
          <p:nvPr>
            <p:ph type="title"/>
          </p:nvPr>
        </p:nvSpPr>
        <p:spPr/>
        <p:txBody>
          <a:bodyPr/>
          <a:lstStyle/>
          <a:p>
            <a:r>
              <a:rPr lang="en-US" dirty="0"/>
              <a:t>Modelling Data – Iteration_4 (V1)</a:t>
            </a:r>
          </a:p>
        </p:txBody>
      </p:sp>
      <p:sp>
        <p:nvSpPr>
          <p:cNvPr id="3" name="Content Placeholder 2">
            <a:extLst>
              <a:ext uri="{FF2B5EF4-FFF2-40B4-BE49-F238E27FC236}">
                <a16:creationId xmlns:a16="http://schemas.microsoft.com/office/drawing/2014/main" id="{90900C59-9F1F-5E61-73F7-B65740A46FFA}"/>
              </a:ext>
            </a:extLst>
          </p:cNvPr>
          <p:cNvSpPr>
            <a:spLocks noGrp="1"/>
          </p:cNvSpPr>
          <p:nvPr>
            <p:ph idx="1"/>
          </p:nvPr>
        </p:nvSpPr>
        <p:spPr>
          <a:xfrm>
            <a:off x="457199" y="1207008"/>
            <a:ext cx="11418277" cy="5111730"/>
          </a:xfrm>
        </p:spPr>
        <p:txBody>
          <a:bodyPr/>
          <a:lstStyle/>
          <a:p>
            <a:r>
              <a:rPr lang="en-US" sz="1800" dirty="0">
                <a:latin typeface="+mn-lt"/>
              </a:rPr>
              <a:t>Iteration 4,Version 1,the training dataset includes data from Jan 1, 2022 - Dec 31, 2023 .Dataset consists of total </a:t>
            </a:r>
            <a:r>
              <a:rPr lang="en-US" altLang="en-US" sz="1800" dirty="0">
                <a:latin typeface="+mn-lt"/>
              </a:rPr>
              <a:t>356891 </a:t>
            </a:r>
            <a:r>
              <a:rPr lang="en-US" sz="1800" dirty="0">
                <a:latin typeface="+mn-lt"/>
              </a:rPr>
              <a:t>patients.</a:t>
            </a:r>
          </a:p>
          <a:p>
            <a:endParaRPr lang="en-US" sz="1800" dirty="0">
              <a:latin typeface="+mn-lt"/>
              <a:ea typeface="Times New Roman" panose="02020603050405020304" pitchFamily="18" charset="0"/>
              <a:cs typeface="Aptos" panose="020B0004020202020204" pitchFamily="34" charset="0"/>
            </a:endParaRPr>
          </a:p>
          <a:p>
            <a:endParaRPr lang="en-US" sz="1800" dirty="0">
              <a:effectLst/>
              <a:latin typeface="+mn-lt"/>
              <a:ea typeface="Times New Roman" panose="02020603050405020304" pitchFamily="18" charset="0"/>
              <a:cs typeface="Aptos" panose="020B0004020202020204" pitchFamily="34" charset="0"/>
            </a:endParaRPr>
          </a:p>
          <a:p>
            <a:r>
              <a:rPr lang="en-US" sz="1800" dirty="0">
                <a:effectLst/>
                <a:latin typeface="+mn-lt"/>
                <a:ea typeface="Times New Roman" panose="02020603050405020304" pitchFamily="18" charset="0"/>
                <a:cs typeface="Aptos" panose="020B0004020202020204" pitchFamily="34" charset="0"/>
              </a:rPr>
              <a:t>								</a:t>
            </a:r>
          </a:p>
          <a:p>
            <a:endParaRPr lang="en-US" sz="1800" dirty="0">
              <a:effectLst/>
              <a:latin typeface="+mn-lt"/>
              <a:ea typeface="Times New Roman" panose="02020603050405020304" pitchFamily="18" charset="0"/>
              <a:cs typeface="Aptos" panose="020B0004020202020204" pitchFamily="34" charset="0"/>
            </a:endParaRPr>
          </a:p>
          <a:p>
            <a:endParaRPr lang="en-US" sz="1800" dirty="0">
              <a:latin typeface="+mn-lt"/>
              <a:ea typeface="Times New Roman" panose="02020603050405020304" pitchFamily="18" charset="0"/>
              <a:cs typeface="Aptos" panose="020B0004020202020204" pitchFamily="34" charset="0"/>
            </a:endParaRPr>
          </a:p>
          <a:p>
            <a:endParaRPr lang="en-US" sz="1800" dirty="0">
              <a:latin typeface="+mn-lt"/>
              <a:ea typeface="Times New Roman" panose="02020603050405020304" pitchFamily="18" charset="0"/>
              <a:cs typeface="Aptos" panose="020B0004020202020204" pitchFamily="34" charset="0"/>
            </a:endParaRPr>
          </a:p>
          <a:p>
            <a:endParaRPr lang="en-US" sz="1800" dirty="0">
              <a:latin typeface="+mn-lt"/>
              <a:ea typeface="Times New Roman" panose="02020603050405020304" pitchFamily="18" charset="0"/>
              <a:cs typeface="Aptos" panose="020B0004020202020204" pitchFamily="34" charset="0"/>
            </a:endParaRPr>
          </a:p>
          <a:p>
            <a:r>
              <a:rPr lang="en-US" sz="1800" dirty="0">
                <a:latin typeface="+mn-lt"/>
                <a:ea typeface="Times New Roman" panose="02020603050405020304" pitchFamily="18" charset="0"/>
                <a:cs typeface="Aptos" panose="020B0004020202020204" pitchFamily="34" charset="0"/>
              </a:rPr>
              <a:t>	</a:t>
            </a:r>
          </a:p>
          <a:p>
            <a:endParaRPr lang="en-US" sz="1800" dirty="0">
              <a:latin typeface="+mn-lt"/>
              <a:ea typeface="Times New Roman" panose="02020603050405020304" pitchFamily="18" charset="0"/>
              <a:cs typeface="Aptos" panose="020B0004020202020204" pitchFamily="34" charset="0"/>
            </a:endParaRPr>
          </a:p>
          <a:p>
            <a:r>
              <a:rPr lang="en-US" sz="1800" dirty="0">
                <a:latin typeface="+mn-lt"/>
                <a:ea typeface="Times New Roman" panose="02020603050405020304" pitchFamily="18" charset="0"/>
                <a:cs typeface="Aptos" panose="020B0004020202020204" pitchFamily="34" charset="0"/>
              </a:rPr>
              <a:t>		</a:t>
            </a:r>
          </a:p>
          <a:p>
            <a:endParaRPr lang="en-US" sz="1800" dirty="0">
              <a:latin typeface="+mn-lt"/>
              <a:ea typeface="Times New Roman" panose="02020603050405020304" pitchFamily="18" charset="0"/>
              <a:cs typeface="Aptos" panose="020B0004020202020204" pitchFamily="34" charset="0"/>
            </a:endParaRPr>
          </a:p>
          <a:p>
            <a:endParaRPr lang="en-US" sz="1800" dirty="0">
              <a:latin typeface="+mn-lt"/>
              <a:ea typeface="Times New Roman" panose="02020603050405020304" pitchFamily="18" charset="0"/>
              <a:cs typeface="Aptos" panose="020B0004020202020204" pitchFamily="34" charset="0"/>
            </a:endParaRPr>
          </a:p>
          <a:p>
            <a:endParaRPr lang="en-US" sz="1800" dirty="0">
              <a:effectLst/>
              <a:latin typeface="+mn-lt"/>
              <a:ea typeface="Times New Roman" panose="02020603050405020304" pitchFamily="18" charset="0"/>
              <a:cs typeface="Aptos" panose="020B0004020202020204" pitchFamily="34" charset="0"/>
            </a:endParaRPr>
          </a:p>
          <a:p>
            <a:endParaRPr lang="en-US" sz="1800" dirty="0">
              <a:effectLst/>
              <a:latin typeface="+mn-lt"/>
              <a:ea typeface="Times New Roman" panose="02020603050405020304" pitchFamily="18" charset="0"/>
              <a:cs typeface="Aptos" panose="020B0004020202020204" pitchFamily="34" charset="0"/>
            </a:endParaRPr>
          </a:p>
          <a:p>
            <a:endParaRPr lang="en-US" sz="1800" dirty="0">
              <a:latin typeface="+mn-lt"/>
              <a:ea typeface="Times New Roman" panose="02020603050405020304" pitchFamily="18" charset="0"/>
              <a:cs typeface="Aptos" panose="020B0004020202020204" pitchFamily="34" charset="0"/>
            </a:endParaRPr>
          </a:p>
          <a:p>
            <a:endParaRPr lang="en-US" sz="1800" dirty="0">
              <a:effectLst/>
              <a:latin typeface="+mn-lt"/>
              <a:ea typeface="Times New Roman" panose="02020603050405020304" pitchFamily="18" charset="0"/>
              <a:cs typeface="Aptos" panose="020B0004020202020204" pitchFamily="34" charset="0"/>
            </a:endParaRPr>
          </a:p>
          <a:p>
            <a:r>
              <a:rPr lang="en-US" sz="1800" dirty="0">
                <a:latin typeface="+mn-lt"/>
                <a:ea typeface="Times New Roman" panose="02020603050405020304" pitchFamily="18" charset="0"/>
                <a:cs typeface="Aptos" panose="020B0004020202020204" pitchFamily="34" charset="0"/>
              </a:rPr>
              <a:t>	</a:t>
            </a:r>
            <a:endParaRPr lang="en-US" sz="1800" dirty="0">
              <a:effectLst/>
              <a:latin typeface="+mn-lt"/>
              <a:ea typeface="Times New Roman" panose="02020603050405020304" pitchFamily="18" charset="0"/>
              <a:cs typeface="Aptos" panose="020B0004020202020204" pitchFamily="34" charset="0"/>
            </a:endParaRPr>
          </a:p>
          <a:p>
            <a:endParaRPr lang="en-US" dirty="0">
              <a:latin typeface="+mn-lt"/>
            </a:endParaRPr>
          </a:p>
          <a:p>
            <a:endParaRPr lang="en-US" dirty="0">
              <a:latin typeface="+mn-lt"/>
            </a:endParaRPr>
          </a:p>
          <a:p>
            <a:endParaRPr lang="en-US" sz="1800" b="0" i="0" u="none" strike="noStrike" dirty="0">
              <a:effectLst/>
              <a:highlight>
                <a:srgbClr val="5009B5"/>
              </a:highlight>
              <a:latin typeface="+mn-lt"/>
            </a:endParaRPr>
          </a:p>
          <a:p>
            <a:endParaRPr lang="en-US" dirty="0">
              <a:latin typeface="+mn-lt"/>
            </a:endParaRPr>
          </a:p>
        </p:txBody>
      </p:sp>
      <p:sp>
        <p:nvSpPr>
          <p:cNvPr id="6" name="Rectangle 3">
            <a:extLst>
              <a:ext uri="{FF2B5EF4-FFF2-40B4-BE49-F238E27FC236}">
                <a16:creationId xmlns:a16="http://schemas.microsoft.com/office/drawing/2014/main" id="{75D7B618-8BB7-FAF8-8FBC-D816BE3CFA69}"/>
              </a:ext>
            </a:extLst>
          </p:cNvPr>
          <p:cNvSpPr>
            <a:spLocks noChangeArrowheads="1"/>
          </p:cNvSpPr>
          <p:nvPr/>
        </p:nvSpPr>
        <p:spPr bwMode="auto">
          <a:xfrm>
            <a:off x="0" y="90100"/>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aphicFrame>
        <p:nvGraphicFramePr>
          <p:cNvPr id="7" name="Table 6">
            <a:extLst>
              <a:ext uri="{FF2B5EF4-FFF2-40B4-BE49-F238E27FC236}">
                <a16:creationId xmlns:a16="http://schemas.microsoft.com/office/drawing/2014/main" id="{C234B1E3-C6FA-A4CF-3DC6-83F48047F433}"/>
              </a:ext>
            </a:extLst>
          </p:cNvPr>
          <p:cNvGraphicFramePr>
            <a:graphicFrameLocks noGrp="1"/>
          </p:cNvGraphicFramePr>
          <p:nvPr>
            <p:extLst>
              <p:ext uri="{D42A27DB-BD31-4B8C-83A1-F6EECF244321}">
                <p14:modId xmlns:p14="http://schemas.microsoft.com/office/powerpoint/2010/main" val="89769626"/>
              </p:ext>
            </p:extLst>
          </p:nvPr>
        </p:nvGraphicFramePr>
        <p:xfrm>
          <a:off x="457200" y="2335860"/>
          <a:ext cx="3352800" cy="1005840"/>
        </p:xfrm>
        <a:graphic>
          <a:graphicData uri="http://schemas.openxmlformats.org/drawingml/2006/table">
            <a:tbl>
              <a:tblPr/>
              <a:tblGrid>
                <a:gridCol w="1676400">
                  <a:extLst>
                    <a:ext uri="{9D8B030D-6E8A-4147-A177-3AD203B41FA5}">
                      <a16:colId xmlns:a16="http://schemas.microsoft.com/office/drawing/2014/main" val="129437646"/>
                    </a:ext>
                  </a:extLst>
                </a:gridCol>
                <a:gridCol w="812800">
                  <a:extLst>
                    <a:ext uri="{9D8B030D-6E8A-4147-A177-3AD203B41FA5}">
                      <a16:colId xmlns:a16="http://schemas.microsoft.com/office/drawing/2014/main" val="3023860623"/>
                    </a:ext>
                  </a:extLst>
                </a:gridCol>
                <a:gridCol w="863600">
                  <a:extLst>
                    <a:ext uri="{9D8B030D-6E8A-4147-A177-3AD203B41FA5}">
                      <a16:colId xmlns:a16="http://schemas.microsoft.com/office/drawing/2014/main" val="1387937320"/>
                    </a:ext>
                  </a:extLst>
                </a:gridCol>
              </a:tblGrid>
              <a:tr h="182880">
                <a:tc>
                  <a:txBody>
                    <a:bodyPr/>
                    <a:lstStyle/>
                    <a:p>
                      <a:pPr algn="l" fontAlgn="b"/>
                      <a:r>
                        <a:rPr lang="en-US" sz="1600" b="1" i="0" u="none" strike="noStrike" dirty="0">
                          <a:solidFill>
                            <a:srgbClr val="000000"/>
                          </a:solidFill>
                          <a:effectLst/>
                          <a:latin typeface="Aptos Narrow" panose="020B0004020202020204" pitchFamily="34" charset="0"/>
                        </a:rPr>
                        <a:t>Total Patient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1" i="0" u="none" strike="noStrike">
                          <a:solidFill>
                            <a:srgbClr val="000000"/>
                          </a:solidFill>
                          <a:effectLst/>
                          <a:latin typeface="Aptos Narrow" panose="020B0004020202020204" pitchFamily="34" charset="0"/>
                        </a:rPr>
                        <a:t>332,45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1" i="0" u="none" strike="noStrike">
                          <a:solidFill>
                            <a:srgbClr val="000000"/>
                          </a:solidFill>
                          <a:effectLst/>
                          <a:latin typeface="Aptos Narrow" panose="020B0004020202020204" pitchFamily="34"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185091402"/>
                  </a:ext>
                </a:extLst>
              </a:tr>
              <a:tr h="182880">
                <a:tc>
                  <a:txBody>
                    <a:bodyPr/>
                    <a:lstStyle/>
                    <a:p>
                      <a:pPr algn="l" fontAlgn="b"/>
                      <a:r>
                        <a:rPr lang="en-US" sz="1600" b="1" i="0" u="none" strike="noStrike" dirty="0">
                          <a:solidFill>
                            <a:srgbClr val="000000"/>
                          </a:solidFill>
                          <a:effectLst/>
                          <a:latin typeface="Aptos Narrow" panose="020B0004020202020204" pitchFamily="34"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1" i="0" u="none" strike="noStrike">
                          <a:solidFill>
                            <a:srgbClr val="000000"/>
                          </a:solidFill>
                          <a:effectLst/>
                          <a:latin typeface="Aptos Narrow" panose="020B0004020202020204" pitchFamily="34" charset="0"/>
                        </a:rPr>
                        <a:t>Targe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1" i="0" u="none" strike="noStrike">
                          <a:solidFill>
                            <a:srgbClr val="000000"/>
                          </a:solidFill>
                          <a:effectLst/>
                          <a:latin typeface="Aptos Narrow" panose="020B0004020202020204" pitchFamily="34" charset="0"/>
                        </a:rPr>
                        <a:t>Targe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4040891684"/>
                  </a:ext>
                </a:extLst>
              </a:tr>
              <a:tr h="182880">
                <a:tc>
                  <a:txBody>
                    <a:bodyPr/>
                    <a:lstStyle/>
                    <a:p>
                      <a:pPr algn="l" fontAlgn="b"/>
                      <a:r>
                        <a:rPr lang="en-US" sz="1600" b="0" i="0" u="none" strike="noStrike">
                          <a:solidFill>
                            <a:srgbClr val="000000"/>
                          </a:solidFill>
                          <a:effectLst/>
                          <a:latin typeface="Aptos Narrow" panose="020B0004020202020204" pitchFamily="34" charset="0"/>
                        </a:rPr>
                        <a:t>Targets Coun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600" b="0" i="0" u="none" strike="noStrike">
                          <a:solidFill>
                            <a:srgbClr val="000000"/>
                          </a:solidFill>
                          <a:effectLst/>
                          <a:latin typeface="Aptos Narrow" panose="020B0004020202020204" pitchFamily="34" charset="0"/>
                        </a:rPr>
                        <a:t>1544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600" b="0" i="0" u="none" strike="noStrike">
                          <a:solidFill>
                            <a:srgbClr val="000000"/>
                          </a:solidFill>
                          <a:effectLst/>
                          <a:latin typeface="Aptos Narrow" panose="020B0004020202020204" pitchFamily="34" charset="0"/>
                        </a:rPr>
                        <a:t>34144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0463354"/>
                  </a:ext>
                </a:extLst>
              </a:tr>
              <a:tr h="182880">
                <a:tc>
                  <a:txBody>
                    <a:bodyPr/>
                    <a:lstStyle/>
                    <a:p>
                      <a:pPr algn="l" fontAlgn="b"/>
                      <a:r>
                        <a:rPr lang="en-US" sz="1600" b="0" i="0" u="none" strike="noStrike" dirty="0">
                          <a:solidFill>
                            <a:srgbClr val="000000"/>
                          </a:solidFill>
                          <a:effectLst/>
                          <a:latin typeface="Aptos Narrow" panose="020B0004020202020204" pitchFamily="34" charset="0"/>
                        </a:rPr>
                        <a:t>Percentag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Aptos Narrow" panose="020B0004020202020204" pitchFamily="34" charset="0"/>
                        </a:rPr>
                        <a:t>4.3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Aptos Narrow" panose="020B0004020202020204" pitchFamily="34" charset="0"/>
                        </a:rPr>
                        <a:t>95.7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4596500"/>
                  </a:ext>
                </a:extLst>
              </a:tr>
            </a:tbl>
          </a:graphicData>
        </a:graphic>
      </p:graphicFrame>
      <p:graphicFrame>
        <p:nvGraphicFramePr>
          <p:cNvPr id="9" name="Table 8">
            <a:extLst>
              <a:ext uri="{FF2B5EF4-FFF2-40B4-BE49-F238E27FC236}">
                <a16:creationId xmlns:a16="http://schemas.microsoft.com/office/drawing/2014/main" id="{5593E2C0-83F1-B9C8-85A9-B5BCB16170AF}"/>
              </a:ext>
            </a:extLst>
          </p:cNvPr>
          <p:cNvGraphicFramePr>
            <a:graphicFrameLocks noGrp="1"/>
          </p:cNvGraphicFramePr>
          <p:nvPr>
            <p:extLst>
              <p:ext uri="{D42A27DB-BD31-4B8C-83A1-F6EECF244321}">
                <p14:modId xmlns:p14="http://schemas.microsoft.com/office/powerpoint/2010/main" val="4180947962"/>
              </p:ext>
            </p:extLst>
          </p:nvPr>
        </p:nvGraphicFramePr>
        <p:xfrm>
          <a:off x="8812212" y="2335860"/>
          <a:ext cx="2489200" cy="1744980"/>
        </p:xfrm>
        <a:graphic>
          <a:graphicData uri="http://schemas.openxmlformats.org/drawingml/2006/table">
            <a:tbl>
              <a:tblPr/>
              <a:tblGrid>
                <a:gridCol w="1808896">
                  <a:extLst>
                    <a:ext uri="{9D8B030D-6E8A-4147-A177-3AD203B41FA5}">
                      <a16:colId xmlns:a16="http://schemas.microsoft.com/office/drawing/2014/main" val="4163780330"/>
                    </a:ext>
                  </a:extLst>
                </a:gridCol>
                <a:gridCol w="680304">
                  <a:extLst>
                    <a:ext uri="{9D8B030D-6E8A-4147-A177-3AD203B41FA5}">
                      <a16:colId xmlns:a16="http://schemas.microsoft.com/office/drawing/2014/main" val="3601785910"/>
                    </a:ext>
                  </a:extLst>
                </a:gridCol>
              </a:tblGrid>
              <a:tr h="471664">
                <a:tc gridSpan="2">
                  <a:txBody>
                    <a:bodyPr/>
                    <a:lstStyle/>
                    <a:p>
                      <a:pPr algn="ctr" fontAlgn="b"/>
                      <a:r>
                        <a:rPr lang="en-US" sz="1600" b="1" i="0" u="none" strike="noStrike" dirty="0">
                          <a:solidFill>
                            <a:srgbClr val="000000"/>
                          </a:solidFill>
                          <a:effectLst/>
                          <a:latin typeface="Aptos Narrow" panose="020B0004020202020204" pitchFamily="34" charset="0"/>
                        </a:rPr>
                        <a:t>Unique number of medical code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US"/>
                    </a:p>
                  </a:txBody>
                  <a:tcPr/>
                </a:tc>
                <a:extLst>
                  <a:ext uri="{0D108BD9-81ED-4DB2-BD59-A6C34878D82A}">
                    <a16:rowId xmlns:a16="http://schemas.microsoft.com/office/drawing/2014/main" val="426029626"/>
                  </a:ext>
                </a:extLst>
              </a:tr>
              <a:tr h="239460">
                <a:tc>
                  <a:txBody>
                    <a:bodyPr/>
                    <a:lstStyle/>
                    <a:p>
                      <a:pPr algn="l" fontAlgn="b"/>
                      <a:r>
                        <a:rPr lang="en-US" sz="1600" b="0" i="0" u="none" strike="noStrike">
                          <a:solidFill>
                            <a:srgbClr val="000000"/>
                          </a:solidFill>
                          <a:effectLst/>
                          <a:latin typeface="Aptos Narrow" panose="020B0004020202020204" pitchFamily="34" charset="0"/>
                        </a:rPr>
                        <a:t>Diagnosi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a:solidFill>
                            <a:srgbClr val="000000"/>
                          </a:solidFill>
                          <a:effectLst/>
                          <a:latin typeface="Calibri" panose="020F0502020204030204" pitchFamily="34" charset="0"/>
                        </a:rPr>
                        <a:t>2308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95684087"/>
                  </a:ext>
                </a:extLst>
              </a:tr>
              <a:tr h="239460">
                <a:tc>
                  <a:txBody>
                    <a:bodyPr/>
                    <a:lstStyle/>
                    <a:p>
                      <a:pPr algn="l" fontAlgn="b"/>
                      <a:r>
                        <a:rPr lang="en-US" sz="1600" b="0" i="0" u="none" strike="noStrike">
                          <a:solidFill>
                            <a:srgbClr val="000000"/>
                          </a:solidFill>
                          <a:effectLst/>
                          <a:latin typeface="Aptos Narrow" panose="020B0004020202020204" pitchFamily="34" charset="0"/>
                        </a:rPr>
                        <a:t>Procedur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a:solidFill>
                            <a:srgbClr val="000000"/>
                          </a:solidFill>
                          <a:effectLst/>
                          <a:latin typeface="Calibri" panose="020F0502020204030204" pitchFamily="34" charset="0"/>
                        </a:rPr>
                        <a:t>862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49689215"/>
                  </a:ext>
                </a:extLst>
              </a:tr>
              <a:tr h="239460">
                <a:tc>
                  <a:txBody>
                    <a:bodyPr/>
                    <a:lstStyle/>
                    <a:p>
                      <a:pPr algn="l" fontAlgn="b"/>
                      <a:r>
                        <a:rPr lang="en-US" sz="1600" b="0" i="0" u="none" strike="noStrike">
                          <a:solidFill>
                            <a:srgbClr val="000000"/>
                          </a:solidFill>
                          <a:effectLst/>
                          <a:latin typeface="Aptos Narrow" panose="020B0004020202020204" pitchFamily="34" charset="0"/>
                        </a:rPr>
                        <a:t>Revenu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a:solidFill>
                            <a:srgbClr val="000000"/>
                          </a:solidFill>
                          <a:effectLst/>
                          <a:latin typeface="Calibri" panose="020F0502020204030204" pitchFamily="34" charset="0"/>
                        </a:rPr>
                        <a:t>39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3778086"/>
                  </a:ext>
                </a:extLst>
              </a:tr>
              <a:tr h="471664">
                <a:tc>
                  <a:txBody>
                    <a:bodyPr/>
                    <a:lstStyle/>
                    <a:p>
                      <a:pPr algn="l" fontAlgn="b"/>
                      <a:r>
                        <a:rPr lang="en-US" sz="1600" b="0" i="0" u="none" strike="noStrike" dirty="0">
                          <a:solidFill>
                            <a:srgbClr val="000000"/>
                          </a:solidFill>
                          <a:effectLst/>
                          <a:latin typeface="Aptos Narrow" panose="020B0004020202020204" pitchFamily="34" charset="0"/>
                        </a:rPr>
                        <a:t>Medical prescription(GPI/RX)</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dirty="0">
                          <a:solidFill>
                            <a:srgbClr val="000000"/>
                          </a:solidFill>
                          <a:effectLst/>
                          <a:latin typeface="Aptos Narrow" panose="020B0004020202020204" pitchFamily="34" charset="0"/>
                        </a:rPr>
                        <a:t>9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90245071"/>
                  </a:ext>
                </a:extLst>
              </a:tr>
            </a:tbl>
          </a:graphicData>
        </a:graphic>
      </p:graphicFrame>
      <p:graphicFrame>
        <p:nvGraphicFramePr>
          <p:cNvPr id="10" name="Table 9">
            <a:extLst>
              <a:ext uri="{FF2B5EF4-FFF2-40B4-BE49-F238E27FC236}">
                <a16:creationId xmlns:a16="http://schemas.microsoft.com/office/drawing/2014/main" id="{5788C57B-A7E2-3741-D0AC-271FB37C6BE3}"/>
              </a:ext>
            </a:extLst>
          </p:cNvPr>
          <p:cNvGraphicFramePr>
            <a:graphicFrameLocks noGrp="1"/>
          </p:cNvGraphicFramePr>
          <p:nvPr>
            <p:extLst>
              <p:ext uri="{D42A27DB-BD31-4B8C-83A1-F6EECF244321}">
                <p14:modId xmlns:p14="http://schemas.microsoft.com/office/powerpoint/2010/main" val="1610231377"/>
              </p:ext>
            </p:extLst>
          </p:nvPr>
        </p:nvGraphicFramePr>
        <p:xfrm>
          <a:off x="4217358" y="2332657"/>
          <a:ext cx="3352800" cy="1501140"/>
        </p:xfrm>
        <a:graphic>
          <a:graphicData uri="http://schemas.openxmlformats.org/drawingml/2006/table">
            <a:tbl>
              <a:tblPr/>
              <a:tblGrid>
                <a:gridCol w="1671651">
                  <a:extLst>
                    <a:ext uri="{9D8B030D-6E8A-4147-A177-3AD203B41FA5}">
                      <a16:colId xmlns:a16="http://schemas.microsoft.com/office/drawing/2014/main" val="1946338653"/>
                    </a:ext>
                  </a:extLst>
                </a:gridCol>
                <a:gridCol w="816829">
                  <a:extLst>
                    <a:ext uri="{9D8B030D-6E8A-4147-A177-3AD203B41FA5}">
                      <a16:colId xmlns:a16="http://schemas.microsoft.com/office/drawing/2014/main" val="394692952"/>
                    </a:ext>
                  </a:extLst>
                </a:gridCol>
                <a:gridCol w="864320">
                  <a:extLst>
                    <a:ext uri="{9D8B030D-6E8A-4147-A177-3AD203B41FA5}">
                      <a16:colId xmlns:a16="http://schemas.microsoft.com/office/drawing/2014/main" val="2536640593"/>
                    </a:ext>
                  </a:extLst>
                </a:gridCol>
              </a:tblGrid>
              <a:tr h="182880">
                <a:tc gridSpan="3">
                  <a:txBody>
                    <a:bodyPr/>
                    <a:lstStyle/>
                    <a:p>
                      <a:pPr algn="ctr" fontAlgn="b"/>
                      <a:r>
                        <a:rPr lang="en-US" sz="1600" b="1" i="0" u="none" strike="noStrike" dirty="0">
                          <a:solidFill>
                            <a:srgbClr val="000000"/>
                          </a:solidFill>
                          <a:effectLst/>
                          <a:latin typeface="Aptos Narrow" panose="020B0004020202020204" pitchFamily="34" charset="0"/>
                        </a:rPr>
                        <a:t>Training Modelling balanced data(Balancing ratio =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27623341"/>
                  </a:ext>
                </a:extLst>
              </a:tr>
              <a:tr h="182880">
                <a:tc>
                  <a:txBody>
                    <a:bodyPr/>
                    <a:lstStyle/>
                    <a:p>
                      <a:pPr algn="l" fontAlgn="b"/>
                      <a:r>
                        <a:rPr lang="en-US" sz="1600" b="1" i="0" u="none" strike="noStrike">
                          <a:solidFill>
                            <a:srgbClr val="000000"/>
                          </a:solidFill>
                          <a:effectLst/>
                          <a:latin typeface="Aptos Narrow" panose="020B0004020202020204" pitchFamily="34" charset="0"/>
                        </a:rPr>
                        <a:t>Total Patient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gridSpan="2">
                  <a:txBody>
                    <a:bodyPr/>
                    <a:lstStyle/>
                    <a:p>
                      <a:pPr algn="ctr" fontAlgn="b"/>
                      <a:r>
                        <a:rPr lang="en-US" sz="1600" b="1" i="0" u="none" strike="noStrike">
                          <a:solidFill>
                            <a:srgbClr val="000000"/>
                          </a:solidFill>
                          <a:effectLst/>
                          <a:latin typeface="Aptos Narrow" panose="020B0004020202020204" pitchFamily="34" charset="0"/>
                        </a:rPr>
                        <a:t>30883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US"/>
                    </a:p>
                  </a:txBody>
                  <a:tcPr/>
                </a:tc>
                <a:extLst>
                  <a:ext uri="{0D108BD9-81ED-4DB2-BD59-A6C34878D82A}">
                    <a16:rowId xmlns:a16="http://schemas.microsoft.com/office/drawing/2014/main" val="2498380622"/>
                  </a:ext>
                </a:extLst>
              </a:tr>
              <a:tr h="182880">
                <a:tc>
                  <a:txBody>
                    <a:bodyPr/>
                    <a:lstStyle/>
                    <a:p>
                      <a:pPr algn="l" fontAlgn="b"/>
                      <a:r>
                        <a:rPr lang="en-US" sz="1600" b="1" i="0" u="none" strike="noStrike">
                          <a:solidFill>
                            <a:srgbClr val="000000"/>
                          </a:solidFill>
                          <a:effectLst/>
                          <a:latin typeface="Aptos Narrow" panose="020B0004020202020204" pitchFamily="34"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1" i="0" u="none" strike="noStrike">
                          <a:solidFill>
                            <a:srgbClr val="000000"/>
                          </a:solidFill>
                          <a:effectLst/>
                          <a:latin typeface="Aptos Narrow" panose="020B0004020202020204" pitchFamily="34" charset="0"/>
                        </a:rPr>
                        <a:t>Targe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1" i="0" u="none" strike="noStrike">
                          <a:solidFill>
                            <a:srgbClr val="000000"/>
                          </a:solidFill>
                          <a:effectLst/>
                          <a:latin typeface="Aptos Narrow" panose="020B0004020202020204" pitchFamily="34" charset="0"/>
                        </a:rPr>
                        <a:t>Targe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728498420"/>
                  </a:ext>
                </a:extLst>
              </a:tr>
              <a:tr h="182880">
                <a:tc>
                  <a:txBody>
                    <a:bodyPr/>
                    <a:lstStyle/>
                    <a:p>
                      <a:pPr algn="l" fontAlgn="b"/>
                      <a:r>
                        <a:rPr lang="en-US" sz="1600" b="0" i="0" u="none" strike="noStrike">
                          <a:solidFill>
                            <a:srgbClr val="000000"/>
                          </a:solidFill>
                          <a:effectLst/>
                          <a:latin typeface="Aptos Narrow" panose="020B0004020202020204" pitchFamily="34" charset="0"/>
                        </a:rPr>
                        <a:t>Targets Coun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600" b="0" i="0" u="none" strike="noStrike">
                          <a:solidFill>
                            <a:srgbClr val="000000"/>
                          </a:solidFill>
                          <a:effectLst/>
                          <a:latin typeface="Var(--jp-code-font-family)"/>
                        </a:rPr>
                        <a:t>1544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600" b="0" i="0" u="none" strike="noStrike">
                          <a:solidFill>
                            <a:srgbClr val="000000"/>
                          </a:solidFill>
                          <a:effectLst/>
                          <a:latin typeface="Var(--jp-code-font-family)"/>
                        </a:rPr>
                        <a:t>29339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96344191"/>
                  </a:ext>
                </a:extLst>
              </a:tr>
              <a:tr h="182880">
                <a:tc>
                  <a:txBody>
                    <a:bodyPr/>
                    <a:lstStyle/>
                    <a:p>
                      <a:pPr algn="l" fontAlgn="b"/>
                      <a:r>
                        <a:rPr lang="en-US" sz="1600" b="0" i="0" u="none" strike="noStrike">
                          <a:solidFill>
                            <a:srgbClr val="000000"/>
                          </a:solidFill>
                          <a:effectLst/>
                          <a:latin typeface="Aptos Narrow" panose="020B0004020202020204" pitchFamily="34" charset="0"/>
                        </a:rPr>
                        <a:t>Percentag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Aptos Narrow" panose="020B0004020202020204" pitchFamily="34" charset="0"/>
                        </a:rPr>
                        <a:t>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Aptos Narrow" panose="020B0004020202020204" pitchFamily="34" charset="0"/>
                        </a:rPr>
                        <a:t>9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42110155"/>
                  </a:ext>
                </a:extLst>
              </a:tr>
            </a:tbl>
          </a:graphicData>
        </a:graphic>
      </p:graphicFrame>
      <p:graphicFrame>
        <p:nvGraphicFramePr>
          <p:cNvPr id="11" name="Table 10">
            <a:extLst>
              <a:ext uri="{FF2B5EF4-FFF2-40B4-BE49-F238E27FC236}">
                <a16:creationId xmlns:a16="http://schemas.microsoft.com/office/drawing/2014/main" id="{5349C401-C08A-F060-EF36-7D3D8162EA89}"/>
              </a:ext>
            </a:extLst>
          </p:cNvPr>
          <p:cNvGraphicFramePr>
            <a:graphicFrameLocks noGrp="1"/>
          </p:cNvGraphicFramePr>
          <p:nvPr>
            <p:extLst>
              <p:ext uri="{D42A27DB-BD31-4B8C-83A1-F6EECF244321}">
                <p14:modId xmlns:p14="http://schemas.microsoft.com/office/powerpoint/2010/main" val="3041162069"/>
              </p:ext>
            </p:extLst>
          </p:nvPr>
        </p:nvGraphicFramePr>
        <p:xfrm>
          <a:off x="457199" y="4818808"/>
          <a:ext cx="3352800" cy="754380"/>
        </p:xfrm>
        <a:graphic>
          <a:graphicData uri="http://schemas.openxmlformats.org/drawingml/2006/table">
            <a:tbl>
              <a:tblPr/>
              <a:tblGrid>
                <a:gridCol w="1395047">
                  <a:extLst>
                    <a:ext uri="{9D8B030D-6E8A-4147-A177-3AD203B41FA5}">
                      <a16:colId xmlns:a16="http://schemas.microsoft.com/office/drawing/2014/main" val="4067667586"/>
                    </a:ext>
                  </a:extLst>
                </a:gridCol>
                <a:gridCol w="1957753">
                  <a:extLst>
                    <a:ext uri="{9D8B030D-6E8A-4147-A177-3AD203B41FA5}">
                      <a16:colId xmlns:a16="http://schemas.microsoft.com/office/drawing/2014/main" val="924344890"/>
                    </a:ext>
                  </a:extLst>
                </a:gridCol>
              </a:tblGrid>
              <a:tr h="182880">
                <a:tc gridSpan="2">
                  <a:txBody>
                    <a:bodyPr/>
                    <a:lstStyle/>
                    <a:p>
                      <a:pPr algn="ctr" fontAlgn="b"/>
                      <a:r>
                        <a:rPr lang="en-US" sz="1600" b="1" i="0" u="none" strike="noStrike" dirty="0">
                          <a:solidFill>
                            <a:srgbClr val="000000"/>
                          </a:solidFill>
                          <a:effectLst/>
                          <a:latin typeface="Aptos Narrow" panose="020B0004020202020204" pitchFamily="34" charset="0"/>
                        </a:rPr>
                        <a:t>Splitting Train Data</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US"/>
                    </a:p>
                  </a:txBody>
                  <a:tcPr/>
                </a:tc>
                <a:extLst>
                  <a:ext uri="{0D108BD9-81ED-4DB2-BD59-A6C34878D82A}">
                    <a16:rowId xmlns:a16="http://schemas.microsoft.com/office/drawing/2014/main" val="1835197220"/>
                  </a:ext>
                </a:extLst>
              </a:tr>
              <a:tr h="182880">
                <a:tc>
                  <a:txBody>
                    <a:bodyPr/>
                    <a:lstStyle/>
                    <a:p>
                      <a:pPr algn="l" fontAlgn="b"/>
                      <a:r>
                        <a:rPr lang="en-US" sz="1600" b="0" i="0" u="none" strike="noStrike">
                          <a:solidFill>
                            <a:srgbClr val="000000"/>
                          </a:solidFill>
                          <a:effectLst/>
                          <a:latin typeface="Aptos Narrow" panose="020B0004020202020204" pitchFamily="34" charset="0"/>
                        </a:rPr>
                        <a:t>Train_data(7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err="1">
                          <a:solidFill>
                            <a:srgbClr val="000000"/>
                          </a:solidFill>
                          <a:effectLst/>
                          <a:latin typeface="Aptos Narrow" panose="020B0004020202020204" pitchFamily="34" charset="0"/>
                        </a:rPr>
                        <a:t>Validation_data</a:t>
                      </a:r>
                      <a:r>
                        <a:rPr lang="en-US" sz="1600" b="0" i="0" u="none" strike="noStrike" dirty="0">
                          <a:solidFill>
                            <a:srgbClr val="000000"/>
                          </a:solidFill>
                          <a:effectLst/>
                          <a:latin typeface="Aptos Narrow" panose="020B0004020202020204" pitchFamily="34" charset="0"/>
                        </a:rPr>
                        <a:t>(2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388848"/>
                  </a:ext>
                </a:extLst>
              </a:tr>
              <a:tr h="182880">
                <a:tc>
                  <a:txBody>
                    <a:bodyPr/>
                    <a:lstStyle/>
                    <a:p>
                      <a:pPr algn="l" fontAlgn="ctr"/>
                      <a:r>
                        <a:rPr lang="en-US" sz="1600" b="0" i="0" u="none" strike="noStrike">
                          <a:solidFill>
                            <a:srgbClr val="000000"/>
                          </a:solidFill>
                          <a:effectLst/>
                          <a:latin typeface="Var(--jp-code-font-family)"/>
                        </a:rPr>
                        <a:t>23162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600" b="0" i="0" u="none" strike="noStrike" dirty="0">
                          <a:solidFill>
                            <a:srgbClr val="000000"/>
                          </a:solidFill>
                          <a:effectLst/>
                          <a:latin typeface="Var(--jp-code-font-family)"/>
                        </a:rPr>
                        <a:t>7721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48106398"/>
                  </a:ext>
                </a:extLst>
              </a:tr>
            </a:tbl>
          </a:graphicData>
        </a:graphic>
      </p:graphicFrame>
      <p:graphicFrame>
        <p:nvGraphicFramePr>
          <p:cNvPr id="13" name="Table 12">
            <a:extLst>
              <a:ext uri="{FF2B5EF4-FFF2-40B4-BE49-F238E27FC236}">
                <a16:creationId xmlns:a16="http://schemas.microsoft.com/office/drawing/2014/main" id="{623BDFEB-F701-DA5F-4F0B-FF41836AAEA0}"/>
              </a:ext>
            </a:extLst>
          </p:cNvPr>
          <p:cNvGraphicFramePr>
            <a:graphicFrameLocks noGrp="1"/>
          </p:cNvGraphicFramePr>
          <p:nvPr>
            <p:extLst>
              <p:ext uri="{D42A27DB-BD31-4B8C-83A1-F6EECF244321}">
                <p14:modId xmlns:p14="http://schemas.microsoft.com/office/powerpoint/2010/main" val="2140384376"/>
              </p:ext>
            </p:extLst>
          </p:nvPr>
        </p:nvGraphicFramePr>
        <p:xfrm>
          <a:off x="4535243" y="4818808"/>
          <a:ext cx="3352800" cy="1501140"/>
        </p:xfrm>
        <a:graphic>
          <a:graphicData uri="http://schemas.openxmlformats.org/drawingml/2006/table">
            <a:tbl>
              <a:tblPr/>
              <a:tblGrid>
                <a:gridCol w="1676400">
                  <a:extLst>
                    <a:ext uri="{9D8B030D-6E8A-4147-A177-3AD203B41FA5}">
                      <a16:colId xmlns:a16="http://schemas.microsoft.com/office/drawing/2014/main" val="3759477040"/>
                    </a:ext>
                  </a:extLst>
                </a:gridCol>
                <a:gridCol w="812800">
                  <a:extLst>
                    <a:ext uri="{9D8B030D-6E8A-4147-A177-3AD203B41FA5}">
                      <a16:colId xmlns:a16="http://schemas.microsoft.com/office/drawing/2014/main" val="3118787830"/>
                    </a:ext>
                  </a:extLst>
                </a:gridCol>
                <a:gridCol w="863600">
                  <a:extLst>
                    <a:ext uri="{9D8B030D-6E8A-4147-A177-3AD203B41FA5}">
                      <a16:colId xmlns:a16="http://schemas.microsoft.com/office/drawing/2014/main" val="2204246991"/>
                    </a:ext>
                  </a:extLst>
                </a:gridCol>
              </a:tblGrid>
              <a:tr h="182880">
                <a:tc>
                  <a:txBody>
                    <a:bodyPr/>
                    <a:lstStyle/>
                    <a:p>
                      <a:pPr algn="l" fontAlgn="b"/>
                      <a:r>
                        <a:rPr lang="en-US" sz="1600" b="1" i="0" u="none" strike="noStrike" dirty="0">
                          <a:solidFill>
                            <a:schemeClr val="tx2"/>
                          </a:solidFill>
                          <a:effectLst/>
                          <a:latin typeface="Aptos Narrow" panose="020B0004020202020204" pitchFamily="34" charset="0"/>
                        </a:rPr>
                        <a:t>Total Patients (OOT Table) (</a:t>
                      </a:r>
                      <a:r>
                        <a:rPr lang="en-US" sz="1600" b="1" kern="1200" dirty="0">
                          <a:solidFill>
                            <a:schemeClr val="tx2"/>
                          </a:solidFill>
                          <a:effectLst/>
                          <a:latin typeface="Aptos Narrow" panose="020B0004020202020204" pitchFamily="34" charset="0"/>
                          <a:ea typeface="+mn-ea"/>
                          <a:cs typeface="+mn-cs"/>
                        </a:rPr>
                        <a:t>Jan 1, 2024 – Sep 30, 2024)</a:t>
                      </a:r>
                      <a:endParaRPr lang="en-US" sz="1600" b="1" i="0" u="none" strike="noStrike" dirty="0">
                        <a:solidFill>
                          <a:schemeClr val="tx2"/>
                        </a:solidFill>
                        <a:effectLst/>
                        <a:latin typeface="Aptos Narrow" panose="020B0004020202020204" pitchFamily="34" charset="0"/>
                      </a:endParaRPr>
                    </a:p>
                    <a:p>
                      <a:pPr algn="l" fontAlgn="b"/>
                      <a:endParaRPr lang="en-US" sz="1600" b="1" i="0" u="none" strike="noStrike" dirty="0">
                        <a:solidFill>
                          <a:srgbClr val="000000"/>
                        </a:solidFill>
                        <a:effectLst/>
                        <a:latin typeface="Aptos Narrow" panose="020B000402020202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US" sz="1600" b="0" i="0" u="none" strike="noStrike">
                          <a:solidFill>
                            <a:srgbClr val="000000"/>
                          </a:solidFill>
                          <a:effectLst/>
                          <a:latin typeface="Var(--jp-code-font-family)"/>
                        </a:rPr>
                        <a:t>13160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1" i="0" u="none" strike="noStrike">
                          <a:solidFill>
                            <a:srgbClr val="000000"/>
                          </a:solidFill>
                          <a:effectLst/>
                          <a:latin typeface="Aptos Narrow" panose="020B0004020202020204" pitchFamily="34"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697482381"/>
                  </a:ext>
                </a:extLst>
              </a:tr>
              <a:tr h="266700">
                <a:tc>
                  <a:txBody>
                    <a:bodyPr/>
                    <a:lstStyle/>
                    <a:p>
                      <a:pPr algn="l" fontAlgn="b"/>
                      <a:r>
                        <a:rPr lang="en-US" sz="1600" b="1" i="0" u="none" strike="noStrike">
                          <a:solidFill>
                            <a:srgbClr val="000000"/>
                          </a:solidFill>
                          <a:effectLst/>
                          <a:latin typeface="Aptos Narrow" panose="020B0004020202020204" pitchFamily="34"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1" i="0" u="none" strike="noStrike">
                          <a:solidFill>
                            <a:srgbClr val="000000"/>
                          </a:solidFill>
                          <a:effectLst/>
                          <a:latin typeface="Aptos Narrow" panose="020B0004020202020204" pitchFamily="34" charset="0"/>
                        </a:rPr>
                        <a:t>Targe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1" i="0" u="none" strike="noStrike">
                          <a:solidFill>
                            <a:srgbClr val="000000"/>
                          </a:solidFill>
                          <a:effectLst/>
                          <a:latin typeface="Aptos Narrow" panose="020B0004020202020204" pitchFamily="34" charset="0"/>
                        </a:rPr>
                        <a:t>Targe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073233726"/>
                  </a:ext>
                </a:extLst>
              </a:tr>
              <a:tr h="182880">
                <a:tc>
                  <a:txBody>
                    <a:bodyPr/>
                    <a:lstStyle/>
                    <a:p>
                      <a:pPr algn="l" fontAlgn="b"/>
                      <a:r>
                        <a:rPr lang="en-US" sz="1600" b="0" i="0" u="none" strike="noStrike">
                          <a:solidFill>
                            <a:srgbClr val="000000"/>
                          </a:solidFill>
                          <a:effectLst/>
                          <a:latin typeface="Aptos Narrow" panose="020B0004020202020204" pitchFamily="34" charset="0"/>
                        </a:rPr>
                        <a:t>Targets Coun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Calibri" panose="020F0502020204030204" pitchFamily="34" charset="0"/>
                        </a:rPr>
                        <a:t>526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Calibri" panose="020F0502020204030204" pitchFamily="34" charset="0"/>
                        </a:rPr>
                        <a:t>12633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07831598"/>
                  </a:ext>
                </a:extLst>
              </a:tr>
            </a:tbl>
          </a:graphicData>
        </a:graphic>
      </p:graphicFrame>
      <p:graphicFrame>
        <p:nvGraphicFramePr>
          <p:cNvPr id="14" name="Table 13">
            <a:extLst>
              <a:ext uri="{FF2B5EF4-FFF2-40B4-BE49-F238E27FC236}">
                <a16:creationId xmlns:a16="http://schemas.microsoft.com/office/drawing/2014/main" id="{BD59706B-0526-B6CE-4078-E50412E1C36A}"/>
              </a:ext>
            </a:extLst>
          </p:cNvPr>
          <p:cNvGraphicFramePr>
            <a:graphicFrameLocks noGrp="1"/>
          </p:cNvGraphicFramePr>
          <p:nvPr>
            <p:extLst>
              <p:ext uri="{D42A27DB-BD31-4B8C-83A1-F6EECF244321}">
                <p14:modId xmlns:p14="http://schemas.microsoft.com/office/powerpoint/2010/main" val="2379927775"/>
              </p:ext>
            </p:extLst>
          </p:nvPr>
        </p:nvGraphicFramePr>
        <p:xfrm>
          <a:off x="8364891" y="4818808"/>
          <a:ext cx="2908300" cy="1242060"/>
        </p:xfrm>
        <a:graphic>
          <a:graphicData uri="http://schemas.openxmlformats.org/drawingml/2006/table">
            <a:tbl>
              <a:tblPr/>
              <a:tblGrid>
                <a:gridCol w="1663243">
                  <a:extLst>
                    <a:ext uri="{9D8B030D-6E8A-4147-A177-3AD203B41FA5}">
                      <a16:colId xmlns:a16="http://schemas.microsoft.com/office/drawing/2014/main" val="3497955780"/>
                    </a:ext>
                  </a:extLst>
                </a:gridCol>
                <a:gridCol w="1245057">
                  <a:extLst>
                    <a:ext uri="{9D8B030D-6E8A-4147-A177-3AD203B41FA5}">
                      <a16:colId xmlns:a16="http://schemas.microsoft.com/office/drawing/2014/main" val="4191088653"/>
                    </a:ext>
                  </a:extLst>
                </a:gridCol>
              </a:tblGrid>
              <a:tr h="77996">
                <a:tc gridSpan="2">
                  <a:txBody>
                    <a:bodyPr/>
                    <a:lstStyle/>
                    <a:p>
                      <a:pPr algn="ctr" fontAlgn="b"/>
                      <a:r>
                        <a:rPr lang="en-US" sz="1600" b="1" i="0" u="none" strike="noStrike" dirty="0">
                          <a:solidFill>
                            <a:srgbClr val="000000"/>
                          </a:solidFill>
                          <a:effectLst/>
                          <a:latin typeface="Aptos Narrow" panose="020B0004020202020204" pitchFamily="34" charset="0"/>
                        </a:rPr>
                        <a:t>Split OOT data on Baby's DOB</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US"/>
                    </a:p>
                  </a:txBody>
                  <a:tcPr/>
                </a:tc>
                <a:extLst>
                  <a:ext uri="{0D108BD9-81ED-4DB2-BD59-A6C34878D82A}">
                    <a16:rowId xmlns:a16="http://schemas.microsoft.com/office/drawing/2014/main" val="3751158385"/>
                  </a:ext>
                </a:extLst>
              </a:tr>
              <a:tr h="266700">
                <a:tc>
                  <a:txBody>
                    <a:bodyPr/>
                    <a:lstStyle/>
                    <a:p>
                      <a:pPr algn="l" fontAlgn="b"/>
                      <a:r>
                        <a:rPr lang="en-US" sz="1600" b="0" i="0" u="none" strike="noStrike" dirty="0">
                          <a:solidFill>
                            <a:srgbClr val="000000"/>
                          </a:solidFill>
                          <a:effectLst/>
                          <a:latin typeface="Aptos Narrow" panose="020B0004020202020204" pitchFamily="34" charset="0"/>
                        </a:rPr>
                        <a:t>Jan-Jun 2024 (OOT Tabl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600" b="0" i="0" u="none" strike="noStrike">
                          <a:solidFill>
                            <a:srgbClr val="000000"/>
                          </a:solidFill>
                          <a:effectLst/>
                          <a:latin typeface="Var(--jp-code-font-family)"/>
                        </a:rPr>
                        <a:t>8743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9231954"/>
                  </a:ext>
                </a:extLst>
              </a:tr>
              <a:tr h="182880">
                <a:tc>
                  <a:txBody>
                    <a:bodyPr/>
                    <a:lstStyle/>
                    <a:p>
                      <a:pPr algn="l" fontAlgn="b"/>
                      <a:r>
                        <a:rPr lang="en-US" sz="1600" b="0" i="0" u="none" strike="noStrike">
                          <a:solidFill>
                            <a:srgbClr val="000000"/>
                          </a:solidFill>
                          <a:effectLst/>
                          <a:latin typeface="Aptos Narrow" panose="020B0004020202020204" pitchFamily="34" charset="0"/>
                        </a:rPr>
                        <a:t>Jul-Sep 2024 (OOT Tabl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600" b="0" i="0" u="none" strike="noStrike" dirty="0">
                          <a:solidFill>
                            <a:srgbClr val="000000"/>
                          </a:solidFill>
                          <a:effectLst/>
                          <a:latin typeface="Var(--jp-code-font-family)"/>
                        </a:rPr>
                        <a:t>4416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82978284"/>
                  </a:ext>
                </a:extLst>
              </a:tr>
            </a:tbl>
          </a:graphicData>
        </a:graphic>
      </p:graphicFrame>
    </p:spTree>
    <p:extLst>
      <p:ext uri="{BB962C8B-B14F-4D97-AF65-F5344CB8AC3E}">
        <p14:creationId xmlns:p14="http://schemas.microsoft.com/office/powerpoint/2010/main" val="21302697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BF5DD-3273-B21A-A7E6-DB76A6C99587}"/>
              </a:ext>
            </a:extLst>
          </p:cNvPr>
          <p:cNvSpPr>
            <a:spLocks noGrp="1"/>
          </p:cNvSpPr>
          <p:nvPr>
            <p:ph type="title"/>
          </p:nvPr>
        </p:nvSpPr>
        <p:spPr/>
        <p:txBody>
          <a:bodyPr/>
          <a:lstStyle/>
          <a:p>
            <a:r>
              <a:rPr lang="en-US" dirty="0"/>
              <a:t>Modelling Data – Iteration_4 (V3)</a:t>
            </a:r>
          </a:p>
        </p:txBody>
      </p:sp>
      <p:sp>
        <p:nvSpPr>
          <p:cNvPr id="3" name="Content Placeholder 2">
            <a:extLst>
              <a:ext uri="{FF2B5EF4-FFF2-40B4-BE49-F238E27FC236}">
                <a16:creationId xmlns:a16="http://schemas.microsoft.com/office/drawing/2014/main" id="{90900C59-9F1F-5E61-73F7-B65740A46FFA}"/>
              </a:ext>
            </a:extLst>
          </p:cNvPr>
          <p:cNvSpPr>
            <a:spLocks noGrp="1"/>
          </p:cNvSpPr>
          <p:nvPr>
            <p:ph idx="1"/>
          </p:nvPr>
        </p:nvSpPr>
        <p:spPr>
          <a:xfrm>
            <a:off x="457200" y="1207008"/>
            <a:ext cx="11292840" cy="4800092"/>
          </a:xfrm>
        </p:spPr>
        <p:txBody>
          <a:bodyPr/>
          <a:lstStyle/>
          <a:p>
            <a:r>
              <a:rPr lang="en-US" dirty="0">
                <a:latin typeface="+mj-lt"/>
              </a:rPr>
              <a:t>Iteration 4,Version 3,the training dataset includes data from </a:t>
            </a:r>
            <a:r>
              <a:rPr lang="en-US" sz="1800" dirty="0">
                <a:effectLst/>
                <a:latin typeface="+mj-lt"/>
                <a:ea typeface="Times New Roman" panose="02020603050405020304" pitchFamily="18" charset="0"/>
                <a:cs typeface="Aptos" panose="020B0004020202020204" pitchFamily="34" charset="0"/>
              </a:rPr>
              <a:t>Jan 1, 2022 - Dec 31, 2023 .Dataset consists of total 332,452 patients.</a:t>
            </a:r>
          </a:p>
          <a:p>
            <a:r>
              <a:rPr lang="en-US" sz="1800" dirty="0">
                <a:effectLst/>
                <a:latin typeface="+mj-lt"/>
                <a:ea typeface="Times New Roman" panose="02020603050405020304" pitchFamily="18" charset="0"/>
                <a:cs typeface="Aptos" panose="020B0004020202020204" pitchFamily="34" charset="0"/>
              </a:rPr>
              <a:t>								</a:t>
            </a:r>
          </a:p>
          <a:p>
            <a:endParaRPr lang="en-US" sz="1800" dirty="0">
              <a:effectLst/>
              <a:latin typeface="+mj-lt"/>
              <a:ea typeface="Times New Roman" panose="02020603050405020304" pitchFamily="18" charset="0"/>
              <a:cs typeface="Aptos" panose="020B0004020202020204" pitchFamily="34" charset="0"/>
            </a:endParaRPr>
          </a:p>
          <a:p>
            <a:endParaRPr lang="en-US" sz="1800" dirty="0">
              <a:latin typeface="+mj-lt"/>
              <a:ea typeface="Times New Roman" panose="02020603050405020304" pitchFamily="18" charset="0"/>
              <a:cs typeface="Aptos" panose="020B0004020202020204" pitchFamily="34" charset="0"/>
            </a:endParaRPr>
          </a:p>
          <a:p>
            <a:endParaRPr lang="en-US" sz="1800" dirty="0">
              <a:latin typeface="+mj-lt"/>
              <a:ea typeface="Times New Roman" panose="02020603050405020304" pitchFamily="18" charset="0"/>
              <a:cs typeface="Aptos" panose="020B0004020202020204" pitchFamily="34" charset="0"/>
            </a:endParaRPr>
          </a:p>
          <a:p>
            <a:endParaRPr lang="en-US" sz="1800" dirty="0">
              <a:latin typeface="+mj-lt"/>
              <a:ea typeface="Times New Roman" panose="02020603050405020304" pitchFamily="18" charset="0"/>
              <a:cs typeface="Aptos" panose="020B0004020202020204" pitchFamily="34" charset="0"/>
            </a:endParaRPr>
          </a:p>
          <a:p>
            <a:r>
              <a:rPr lang="en-US" sz="1800" dirty="0">
                <a:latin typeface="+mj-lt"/>
                <a:ea typeface="Times New Roman" panose="02020603050405020304" pitchFamily="18" charset="0"/>
                <a:cs typeface="Aptos" panose="020B0004020202020204" pitchFamily="34" charset="0"/>
              </a:rPr>
              <a:t>	</a:t>
            </a:r>
          </a:p>
          <a:p>
            <a:endParaRPr lang="en-US" sz="1800" dirty="0">
              <a:latin typeface="+mj-lt"/>
              <a:ea typeface="Times New Roman" panose="02020603050405020304" pitchFamily="18" charset="0"/>
              <a:cs typeface="Aptos" panose="020B0004020202020204" pitchFamily="34" charset="0"/>
            </a:endParaRPr>
          </a:p>
          <a:p>
            <a:r>
              <a:rPr lang="en-US" sz="1800" dirty="0">
                <a:latin typeface="+mj-lt"/>
                <a:ea typeface="Times New Roman" panose="02020603050405020304" pitchFamily="18" charset="0"/>
                <a:cs typeface="Aptos" panose="020B0004020202020204" pitchFamily="34" charset="0"/>
              </a:rPr>
              <a:t>		</a:t>
            </a:r>
          </a:p>
          <a:p>
            <a:endParaRPr lang="en-US" sz="1800" dirty="0">
              <a:latin typeface="+mj-lt"/>
              <a:ea typeface="Times New Roman" panose="02020603050405020304" pitchFamily="18" charset="0"/>
              <a:cs typeface="Aptos" panose="020B0004020202020204" pitchFamily="34" charset="0"/>
            </a:endParaRPr>
          </a:p>
          <a:p>
            <a:endParaRPr lang="en-US" sz="1800" dirty="0">
              <a:latin typeface="+mj-lt"/>
              <a:ea typeface="Times New Roman" panose="02020603050405020304" pitchFamily="18" charset="0"/>
              <a:cs typeface="Aptos" panose="020B0004020202020204" pitchFamily="34" charset="0"/>
            </a:endParaRPr>
          </a:p>
          <a:p>
            <a:endParaRPr lang="en-US" sz="1800" dirty="0">
              <a:effectLst/>
              <a:latin typeface="+mj-lt"/>
              <a:ea typeface="Times New Roman" panose="02020603050405020304" pitchFamily="18" charset="0"/>
              <a:cs typeface="Aptos" panose="020B0004020202020204" pitchFamily="34" charset="0"/>
            </a:endParaRPr>
          </a:p>
          <a:p>
            <a:endParaRPr lang="en-US" sz="1800" dirty="0">
              <a:effectLst/>
              <a:latin typeface="+mj-lt"/>
              <a:ea typeface="Times New Roman" panose="02020603050405020304" pitchFamily="18" charset="0"/>
              <a:cs typeface="Aptos" panose="020B0004020202020204" pitchFamily="34" charset="0"/>
            </a:endParaRPr>
          </a:p>
          <a:p>
            <a:endParaRPr lang="en-US" sz="1800" dirty="0">
              <a:latin typeface="+mj-lt"/>
              <a:ea typeface="Times New Roman" panose="02020603050405020304" pitchFamily="18" charset="0"/>
              <a:cs typeface="Aptos" panose="020B0004020202020204" pitchFamily="34" charset="0"/>
            </a:endParaRPr>
          </a:p>
          <a:p>
            <a:endParaRPr lang="en-US" sz="1800" dirty="0">
              <a:effectLst/>
              <a:latin typeface="+mj-lt"/>
              <a:ea typeface="Times New Roman" panose="02020603050405020304" pitchFamily="18" charset="0"/>
              <a:cs typeface="Aptos" panose="020B0004020202020204" pitchFamily="34" charset="0"/>
            </a:endParaRPr>
          </a:p>
          <a:p>
            <a:r>
              <a:rPr lang="en-US" sz="1800" dirty="0">
                <a:latin typeface="+mj-lt"/>
                <a:ea typeface="Times New Roman" panose="02020603050405020304" pitchFamily="18" charset="0"/>
                <a:cs typeface="Aptos" panose="020B0004020202020204" pitchFamily="34" charset="0"/>
              </a:rPr>
              <a:t>	</a:t>
            </a:r>
            <a:endParaRPr lang="en-US" sz="1800" dirty="0">
              <a:effectLst/>
              <a:latin typeface="+mj-lt"/>
              <a:ea typeface="Times New Roman" panose="02020603050405020304" pitchFamily="18" charset="0"/>
              <a:cs typeface="Aptos" panose="020B0004020202020204" pitchFamily="34" charset="0"/>
            </a:endParaRPr>
          </a:p>
          <a:p>
            <a:endParaRPr lang="en-US" dirty="0">
              <a:latin typeface="+mj-lt"/>
            </a:endParaRPr>
          </a:p>
          <a:p>
            <a:endParaRPr lang="en-US" dirty="0"/>
          </a:p>
          <a:p>
            <a:endParaRPr lang="en-US" sz="1800" b="0" i="0" u="none" strike="noStrike" dirty="0">
              <a:effectLst/>
              <a:highlight>
                <a:srgbClr val="5009B5"/>
              </a:highlight>
              <a:latin typeface="Arial" panose="020B0604020202020204" pitchFamily="34" charset="0"/>
            </a:endParaRPr>
          </a:p>
          <a:p>
            <a:endParaRPr lang="en-US" dirty="0"/>
          </a:p>
        </p:txBody>
      </p:sp>
      <p:graphicFrame>
        <p:nvGraphicFramePr>
          <p:cNvPr id="12" name="Table 11">
            <a:extLst>
              <a:ext uri="{FF2B5EF4-FFF2-40B4-BE49-F238E27FC236}">
                <a16:creationId xmlns:a16="http://schemas.microsoft.com/office/drawing/2014/main" id="{1C4DCCFA-C1DE-EA4D-7275-A163250D58CA}"/>
              </a:ext>
            </a:extLst>
          </p:cNvPr>
          <p:cNvGraphicFramePr>
            <a:graphicFrameLocks noGrp="1"/>
          </p:cNvGraphicFramePr>
          <p:nvPr/>
        </p:nvGraphicFramePr>
        <p:xfrm>
          <a:off x="4423092" y="2194560"/>
          <a:ext cx="2648268" cy="1531620"/>
        </p:xfrm>
        <a:graphic>
          <a:graphicData uri="http://schemas.openxmlformats.org/drawingml/2006/table">
            <a:tbl>
              <a:tblPr/>
              <a:tblGrid>
                <a:gridCol w="1783527">
                  <a:extLst>
                    <a:ext uri="{9D8B030D-6E8A-4147-A177-3AD203B41FA5}">
                      <a16:colId xmlns:a16="http://schemas.microsoft.com/office/drawing/2014/main" val="23130548"/>
                    </a:ext>
                  </a:extLst>
                </a:gridCol>
                <a:gridCol w="864741">
                  <a:extLst>
                    <a:ext uri="{9D8B030D-6E8A-4147-A177-3AD203B41FA5}">
                      <a16:colId xmlns:a16="http://schemas.microsoft.com/office/drawing/2014/main" val="4194283586"/>
                    </a:ext>
                  </a:extLst>
                </a:gridCol>
              </a:tblGrid>
              <a:tr h="0">
                <a:tc>
                  <a:txBody>
                    <a:bodyPr/>
                    <a:lstStyle/>
                    <a:p>
                      <a:pPr algn="l" fontAlgn="b"/>
                      <a:r>
                        <a:rPr lang="en-US" sz="1400" b="0" i="0" u="none" strike="noStrike" dirty="0">
                          <a:solidFill>
                            <a:srgbClr val="000000"/>
                          </a:solidFill>
                          <a:effectLst/>
                          <a:latin typeface="Aptos Narrow" panose="020B0004020202020204" pitchFamily="34"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1" i="0" u="none" strike="noStrike" dirty="0">
                          <a:solidFill>
                            <a:srgbClr val="000000"/>
                          </a:solidFill>
                          <a:effectLst/>
                          <a:latin typeface="Aptos Narrow" panose="020B0004020202020204" pitchFamily="34" charset="0"/>
                        </a:rPr>
                        <a:t>Unique code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4098161116"/>
                  </a:ext>
                </a:extLst>
              </a:tr>
              <a:tr h="129699">
                <a:tc>
                  <a:txBody>
                    <a:bodyPr/>
                    <a:lstStyle/>
                    <a:p>
                      <a:pPr algn="l" fontAlgn="b"/>
                      <a:r>
                        <a:rPr lang="en-US" sz="1400" b="0" i="0" u="none" strike="noStrike" dirty="0">
                          <a:solidFill>
                            <a:srgbClr val="000000"/>
                          </a:solidFill>
                          <a:effectLst/>
                          <a:latin typeface="Aptos Narrow" panose="020B0004020202020204" pitchFamily="34" charset="0"/>
                        </a:rPr>
                        <a:t>Diagnosi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Aptos Narrow" panose="020B0004020202020204" pitchFamily="34" charset="0"/>
                        </a:rPr>
                        <a:t>21,92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6612744"/>
                  </a:ext>
                </a:extLst>
              </a:tr>
              <a:tr h="182880">
                <a:tc>
                  <a:txBody>
                    <a:bodyPr/>
                    <a:lstStyle/>
                    <a:p>
                      <a:pPr algn="l" fontAlgn="b"/>
                      <a:r>
                        <a:rPr lang="en-US" sz="1400" b="0" i="0" u="none" strike="noStrike" dirty="0">
                          <a:solidFill>
                            <a:srgbClr val="000000"/>
                          </a:solidFill>
                          <a:effectLst/>
                          <a:latin typeface="Aptos Narrow" panose="020B0004020202020204" pitchFamily="34" charset="0"/>
                        </a:rPr>
                        <a:t>Procedur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Aptos Narrow" panose="020B0004020202020204" pitchFamily="34" charset="0"/>
                        </a:rPr>
                        <a:t>8,21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97483894"/>
                  </a:ext>
                </a:extLst>
              </a:tr>
              <a:tr h="182880">
                <a:tc>
                  <a:txBody>
                    <a:bodyPr/>
                    <a:lstStyle/>
                    <a:p>
                      <a:pPr algn="l" fontAlgn="b"/>
                      <a:r>
                        <a:rPr lang="en-US" sz="1400" b="0" i="0" u="none" strike="noStrike" dirty="0">
                          <a:solidFill>
                            <a:srgbClr val="000000"/>
                          </a:solidFill>
                          <a:effectLst/>
                          <a:latin typeface="Aptos Narrow" panose="020B0004020202020204" pitchFamily="34" charset="0"/>
                        </a:rPr>
                        <a:t>Revenu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Aptos Narrow" panose="020B0004020202020204" pitchFamily="34" charset="0"/>
                        </a:rPr>
                        <a:t>36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08165762"/>
                  </a:ext>
                </a:extLst>
              </a:tr>
              <a:tr h="182880">
                <a:tc>
                  <a:txBody>
                    <a:bodyPr/>
                    <a:lstStyle/>
                    <a:p>
                      <a:pPr algn="l" fontAlgn="b"/>
                      <a:r>
                        <a:rPr lang="en-US" sz="1400" b="0" i="0" u="none" strike="noStrike">
                          <a:solidFill>
                            <a:srgbClr val="000000"/>
                          </a:solidFill>
                          <a:effectLst/>
                          <a:latin typeface="Aptos Narrow" panose="020B0004020202020204" pitchFamily="34" charset="0"/>
                        </a:rPr>
                        <a:t>Medical prescription(GPI/RX)</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dirty="0">
                          <a:solidFill>
                            <a:srgbClr val="000000"/>
                          </a:solidFill>
                          <a:effectLst/>
                          <a:latin typeface="Aptos Narrow" panose="020B0004020202020204" pitchFamily="34" charset="0"/>
                        </a:rPr>
                        <a:t>9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96186644"/>
                  </a:ext>
                </a:extLst>
              </a:tr>
            </a:tbl>
          </a:graphicData>
        </a:graphic>
      </p:graphicFrame>
      <p:graphicFrame>
        <p:nvGraphicFramePr>
          <p:cNvPr id="15" name="Table 14">
            <a:extLst>
              <a:ext uri="{FF2B5EF4-FFF2-40B4-BE49-F238E27FC236}">
                <a16:creationId xmlns:a16="http://schemas.microsoft.com/office/drawing/2014/main" id="{A1439954-A6EA-D224-9C1D-D22C4AFD80B4}"/>
              </a:ext>
            </a:extLst>
          </p:cNvPr>
          <p:cNvGraphicFramePr>
            <a:graphicFrameLocks noGrp="1"/>
          </p:cNvGraphicFramePr>
          <p:nvPr/>
        </p:nvGraphicFramePr>
        <p:xfrm>
          <a:off x="568960" y="2194560"/>
          <a:ext cx="3547586" cy="1005840"/>
        </p:xfrm>
        <a:graphic>
          <a:graphicData uri="http://schemas.openxmlformats.org/drawingml/2006/table">
            <a:tbl>
              <a:tblPr/>
              <a:tblGrid>
                <a:gridCol w="1773793">
                  <a:extLst>
                    <a:ext uri="{9D8B030D-6E8A-4147-A177-3AD203B41FA5}">
                      <a16:colId xmlns:a16="http://schemas.microsoft.com/office/drawing/2014/main" val="114080012"/>
                    </a:ext>
                  </a:extLst>
                </a:gridCol>
                <a:gridCol w="860021">
                  <a:extLst>
                    <a:ext uri="{9D8B030D-6E8A-4147-A177-3AD203B41FA5}">
                      <a16:colId xmlns:a16="http://schemas.microsoft.com/office/drawing/2014/main" val="563935129"/>
                    </a:ext>
                  </a:extLst>
                </a:gridCol>
                <a:gridCol w="913772">
                  <a:extLst>
                    <a:ext uri="{9D8B030D-6E8A-4147-A177-3AD203B41FA5}">
                      <a16:colId xmlns:a16="http://schemas.microsoft.com/office/drawing/2014/main" val="606705274"/>
                    </a:ext>
                  </a:extLst>
                </a:gridCol>
              </a:tblGrid>
              <a:tr h="224790">
                <a:tc>
                  <a:txBody>
                    <a:bodyPr/>
                    <a:lstStyle/>
                    <a:p>
                      <a:pPr algn="l" fontAlgn="b"/>
                      <a:r>
                        <a:rPr lang="en-US" sz="1600" b="1" i="0" u="none" strike="noStrike" dirty="0">
                          <a:solidFill>
                            <a:srgbClr val="000000"/>
                          </a:solidFill>
                          <a:effectLst/>
                          <a:latin typeface="Aptos Narrow" panose="020B0004020202020204" pitchFamily="34" charset="0"/>
                        </a:rPr>
                        <a:t>Total Patient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1" i="0" u="none" strike="noStrike" dirty="0">
                          <a:solidFill>
                            <a:srgbClr val="000000"/>
                          </a:solidFill>
                          <a:effectLst/>
                          <a:latin typeface="Aptos Narrow" panose="020B0004020202020204" pitchFamily="34" charset="0"/>
                        </a:rPr>
                        <a:t>332,45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1" i="0" u="none" strike="noStrike" dirty="0">
                          <a:solidFill>
                            <a:srgbClr val="000000"/>
                          </a:solidFill>
                          <a:effectLst/>
                          <a:latin typeface="Aptos Narrow" panose="020B0004020202020204" pitchFamily="34"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096590751"/>
                  </a:ext>
                </a:extLst>
              </a:tr>
              <a:tr h="224790">
                <a:tc>
                  <a:txBody>
                    <a:bodyPr/>
                    <a:lstStyle/>
                    <a:p>
                      <a:pPr algn="l" fontAlgn="b"/>
                      <a:r>
                        <a:rPr lang="en-US" sz="1600" b="1" i="0" u="none" strike="noStrike" dirty="0">
                          <a:solidFill>
                            <a:srgbClr val="000000"/>
                          </a:solidFill>
                          <a:effectLst/>
                          <a:latin typeface="Aptos Narrow" panose="020B0004020202020204" pitchFamily="34"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1" i="0" u="none" strike="noStrike" dirty="0">
                          <a:solidFill>
                            <a:srgbClr val="000000"/>
                          </a:solidFill>
                          <a:effectLst/>
                          <a:latin typeface="Aptos Narrow" panose="020B0004020202020204" pitchFamily="34" charset="0"/>
                        </a:rPr>
                        <a:t>Targe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1" i="0" u="none" strike="noStrike" dirty="0">
                          <a:solidFill>
                            <a:srgbClr val="000000"/>
                          </a:solidFill>
                          <a:effectLst/>
                          <a:latin typeface="Aptos Narrow" panose="020B0004020202020204" pitchFamily="34" charset="0"/>
                        </a:rPr>
                        <a:t>Targe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280936576"/>
                  </a:ext>
                </a:extLst>
              </a:tr>
              <a:tr h="224790">
                <a:tc>
                  <a:txBody>
                    <a:bodyPr/>
                    <a:lstStyle/>
                    <a:p>
                      <a:pPr algn="l" fontAlgn="b"/>
                      <a:r>
                        <a:rPr lang="en-US" sz="1600" b="0" i="0" u="none" strike="noStrike" dirty="0">
                          <a:solidFill>
                            <a:srgbClr val="000000"/>
                          </a:solidFill>
                          <a:effectLst/>
                          <a:latin typeface="Aptos Narrow" panose="020B0004020202020204" pitchFamily="34" charset="0"/>
                        </a:rPr>
                        <a:t>Targets Coun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Aptos Narrow" panose="020B0004020202020204" pitchFamily="34" charset="0"/>
                        </a:rPr>
                        <a:t>1401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Aptos Narrow" panose="020B0004020202020204" pitchFamily="34" charset="0"/>
                        </a:rPr>
                        <a:t>318,43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96919320"/>
                  </a:ext>
                </a:extLst>
              </a:tr>
              <a:tr h="224790">
                <a:tc>
                  <a:txBody>
                    <a:bodyPr/>
                    <a:lstStyle/>
                    <a:p>
                      <a:pPr algn="l" fontAlgn="b"/>
                      <a:r>
                        <a:rPr lang="en-US" sz="1600" b="0" i="0" u="none" strike="noStrike" dirty="0">
                          <a:solidFill>
                            <a:srgbClr val="000000"/>
                          </a:solidFill>
                          <a:effectLst/>
                          <a:latin typeface="Aptos Narrow" panose="020B0004020202020204" pitchFamily="34" charset="0"/>
                        </a:rPr>
                        <a:t>Percentag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Aptos Narrow" panose="020B0004020202020204" pitchFamily="34" charset="0"/>
                        </a:rPr>
                        <a:t>4.2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Aptos Narrow" panose="020B0004020202020204" pitchFamily="34" charset="0"/>
                        </a:rPr>
                        <a:t>95.8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52560768"/>
                  </a:ext>
                </a:extLst>
              </a:tr>
            </a:tbl>
          </a:graphicData>
        </a:graphic>
      </p:graphicFrame>
      <p:graphicFrame>
        <p:nvGraphicFramePr>
          <p:cNvPr id="17" name="Table 16">
            <a:extLst>
              <a:ext uri="{FF2B5EF4-FFF2-40B4-BE49-F238E27FC236}">
                <a16:creationId xmlns:a16="http://schemas.microsoft.com/office/drawing/2014/main" id="{8493D4ED-21D3-9B12-AA16-8F8A89C8CC7E}"/>
              </a:ext>
            </a:extLst>
          </p:cNvPr>
          <p:cNvGraphicFramePr>
            <a:graphicFrameLocks noGrp="1"/>
          </p:cNvGraphicFramePr>
          <p:nvPr>
            <p:extLst>
              <p:ext uri="{D42A27DB-BD31-4B8C-83A1-F6EECF244321}">
                <p14:modId xmlns:p14="http://schemas.microsoft.com/office/powerpoint/2010/main" val="3924007468"/>
              </p:ext>
            </p:extLst>
          </p:nvPr>
        </p:nvGraphicFramePr>
        <p:xfrm>
          <a:off x="4356160" y="4184141"/>
          <a:ext cx="3352800" cy="1719221"/>
        </p:xfrm>
        <a:graphic>
          <a:graphicData uri="http://schemas.openxmlformats.org/drawingml/2006/table">
            <a:tbl>
              <a:tblPr/>
              <a:tblGrid>
                <a:gridCol w="1676400">
                  <a:extLst>
                    <a:ext uri="{9D8B030D-6E8A-4147-A177-3AD203B41FA5}">
                      <a16:colId xmlns:a16="http://schemas.microsoft.com/office/drawing/2014/main" val="1065945291"/>
                    </a:ext>
                  </a:extLst>
                </a:gridCol>
                <a:gridCol w="812800">
                  <a:extLst>
                    <a:ext uri="{9D8B030D-6E8A-4147-A177-3AD203B41FA5}">
                      <a16:colId xmlns:a16="http://schemas.microsoft.com/office/drawing/2014/main" val="1970179064"/>
                    </a:ext>
                  </a:extLst>
                </a:gridCol>
                <a:gridCol w="863600">
                  <a:extLst>
                    <a:ext uri="{9D8B030D-6E8A-4147-A177-3AD203B41FA5}">
                      <a16:colId xmlns:a16="http://schemas.microsoft.com/office/drawing/2014/main" val="1877237164"/>
                    </a:ext>
                  </a:extLst>
                </a:gridCol>
              </a:tblGrid>
              <a:tr h="853049">
                <a:tc>
                  <a:txBody>
                    <a:bodyPr/>
                    <a:lstStyle/>
                    <a:p>
                      <a:pPr algn="l" fontAlgn="b"/>
                      <a:r>
                        <a:rPr lang="en-US" sz="1600" b="1" i="0" u="none" strike="noStrike" dirty="0">
                          <a:solidFill>
                            <a:schemeClr val="tx2"/>
                          </a:solidFill>
                          <a:effectLst/>
                          <a:latin typeface="Aptos Narrow" panose="020B0004020202020204" pitchFamily="34" charset="0"/>
                        </a:rPr>
                        <a:t>Total Patients (OOT Table) (</a:t>
                      </a:r>
                      <a:r>
                        <a:rPr lang="en-US" sz="1600" kern="1200" dirty="0">
                          <a:solidFill>
                            <a:schemeClr val="tx2"/>
                          </a:solidFill>
                          <a:effectLst/>
                          <a:latin typeface="Aptos Narrow" panose="020B0004020202020204" pitchFamily="34" charset="0"/>
                          <a:ea typeface="+mn-ea"/>
                          <a:cs typeface="+mn-cs"/>
                        </a:rPr>
                        <a:t>Jan 1, 2024 – Sep 30, 2024)</a:t>
                      </a:r>
                      <a:endParaRPr lang="en-US" sz="1600" b="1" i="0" u="none" strike="noStrike" dirty="0">
                        <a:solidFill>
                          <a:schemeClr val="tx2"/>
                        </a:solidFill>
                        <a:effectLst/>
                        <a:latin typeface="Aptos Narrow" panose="020B000402020202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0" i="0" u="none" strike="noStrike" dirty="0">
                          <a:solidFill>
                            <a:srgbClr val="000000"/>
                          </a:solidFill>
                          <a:effectLst/>
                          <a:latin typeface="Aptos Narrow" panose="020B0004020202020204" pitchFamily="34" charset="0"/>
                        </a:rPr>
                        <a:t>12423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1" i="0" u="none" strike="noStrike">
                          <a:solidFill>
                            <a:srgbClr val="000000"/>
                          </a:solidFill>
                          <a:effectLst/>
                          <a:latin typeface="Aptos Narrow" panose="020B0004020202020204" pitchFamily="34"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438623691"/>
                  </a:ext>
                </a:extLst>
              </a:tr>
              <a:tr h="433086">
                <a:tc>
                  <a:txBody>
                    <a:bodyPr/>
                    <a:lstStyle/>
                    <a:p>
                      <a:pPr algn="l" fontAlgn="b"/>
                      <a:r>
                        <a:rPr lang="en-US" sz="1600" b="1" i="0" u="none" strike="noStrike">
                          <a:solidFill>
                            <a:srgbClr val="000000"/>
                          </a:solidFill>
                          <a:effectLst/>
                          <a:latin typeface="Aptos Narrow" panose="020B0004020202020204" pitchFamily="34"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1" i="0" u="none" strike="noStrike" dirty="0">
                          <a:solidFill>
                            <a:srgbClr val="000000"/>
                          </a:solidFill>
                          <a:effectLst/>
                          <a:latin typeface="Aptos Narrow" panose="020B0004020202020204" pitchFamily="34" charset="0"/>
                        </a:rPr>
                        <a:t>Targe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1" i="0" u="none" strike="noStrike">
                          <a:solidFill>
                            <a:srgbClr val="000000"/>
                          </a:solidFill>
                          <a:effectLst/>
                          <a:latin typeface="Aptos Narrow" panose="020B0004020202020204" pitchFamily="34" charset="0"/>
                        </a:rPr>
                        <a:t>Targe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414081631"/>
                  </a:ext>
                </a:extLst>
              </a:tr>
              <a:tr h="433086">
                <a:tc>
                  <a:txBody>
                    <a:bodyPr/>
                    <a:lstStyle/>
                    <a:p>
                      <a:pPr algn="l" fontAlgn="b"/>
                      <a:r>
                        <a:rPr lang="en-US" sz="1600" b="0" i="0" u="none" strike="noStrike">
                          <a:solidFill>
                            <a:srgbClr val="000000"/>
                          </a:solidFill>
                          <a:effectLst/>
                          <a:latin typeface="Aptos Narrow" panose="020B0004020202020204" pitchFamily="34" charset="0"/>
                        </a:rPr>
                        <a:t>Targets Coun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Aptos" panose="020B0004020202020204" pitchFamily="34" charset="0"/>
                        </a:rPr>
                        <a:t>487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Aptos" panose="020B0004020202020204" pitchFamily="34" charset="0"/>
                        </a:rPr>
                        <a:t>11935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82547639"/>
                  </a:ext>
                </a:extLst>
              </a:tr>
            </a:tbl>
          </a:graphicData>
        </a:graphic>
      </p:graphicFrame>
      <p:graphicFrame>
        <p:nvGraphicFramePr>
          <p:cNvPr id="20" name="Table 19">
            <a:extLst>
              <a:ext uri="{FF2B5EF4-FFF2-40B4-BE49-F238E27FC236}">
                <a16:creationId xmlns:a16="http://schemas.microsoft.com/office/drawing/2014/main" id="{0DC6C012-212D-6B65-5657-CB3682111F55}"/>
              </a:ext>
            </a:extLst>
          </p:cNvPr>
          <p:cNvGraphicFramePr>
            <a:graphicFrameLocks noGrp="1"/>
          </p:cNvGraphicFramePr>
          <p:nvPr/>
        </p:nvGraphicFramePr>
        <p:xfrm>
          <a:off x="7377906" y="2194560"/>
          <a:ext cx="3837146" cy="1501140"/>
        </p:xfrm>
        <a:graphic>
          <a:graphicData uri="http://schemas.openxmlformats.org/drawingml/2006/table">
            <a:tbl>
              <a:tblPr/>
              <a:tblGrid>
                <a:gridCol w="1913138">
                  <a:extLst>
                    <a:ext uri="{9D8B030D-6E8A-4147-A177-3AD203B41FA5}">
                      <a16:colId xmlns:a16="http://schemas.microsoft.com/office/drawing/2014/main" val="669727951"/>
                    </a:ext>
                  </a:extLst>
                </a:gridCol>
                <a:gridCol w="934828">
                  <a:extLst>
                    <a:ext uri="{9D8B030D-6E8A-4147-A177-3AD203B41FA5}">
                      <a16:colId xmlns:a16="http://schemas.microsoft.com/office/drawing/2014/main" val="3010590113"/>
                    </a:ext>
                  </a:extLst>
                </a:gridCol>
                <a:gridCol w="989180">
                  <a:extLst>
                    <a:ext uri="{9D8B030D-6E8A-4147-A177-3AD203B41FA5}">
                      <a16:colId xmlns:a16="http://schemas.microsoft.com/office/drawing/2014/main" val="2741622654"/>
                    </a:ext>
                  </a:extLst>
                </a:gridCol>
              </a:tblGrid>
              <a:tr h="229616">
                <a:tc gridSpan="3">
                  <a:txBody>
                    <a:bodyPr/>
                    <a:lstStyle/>
                    <a:p>
                      <a:pPr algn="ctr" fontAlgn="b"/>
                      <a:r>
                        <a:rPr lang="en-US" sz="1600" b="1" i="0" u="none" strike="noStrike" dirty="0">
                          <a:solidFill>
                            <a:srgbClr val="000000"/>
                          </a:solidFill>
                          <a:effectLst/>
                          <a:latin typeface="Aptos Narrow" panose="020B0004020202020204" pitchFamily="34" charset="0"/>
                        </a:rPr>
                        <a:t>Training Modelling balanced data(Balancing ratio =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064098203"/>
                  </a:ext>
                </a:extLst>
              </a:tr>
              <a:tr h="229616">
                <a:tc>
                  <a:txBody>
                    <a:bodyPr/>
                    <a:lstStyle/>
                    <a:p>
                      <a:pPr algn="l" fontAlgn="b"/>
                      <a:r>
                        <a:rPr lang="en-US" sz="1600" b="1" i="0" u="none" strike="noStrike">
                          <a:solidFill>
                            <a:srgbClr val="000000"/>
                          </a:solidFill>
                          <a:effectLst/>
                          <a:latin typeface="Aptos Narrow" panose="020B0004020202020204" pitchFamily="34" charset="0"/>
                        </a:rPr>
                        <a:t>Total Patient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gridSpan="2">
                  <a:txBody>
                    <a:bodyPr/>
                    <a:lstStyle/>
                    <a:p>
                      <a:pPr algn="ctr" fontAlgn="b"/>
                      <a:r>
                        <a:rPr lang="en-US" sz="1600" b="1" i="0" u="none" strike="noStrike" dirty="0">
                          <a:solidFill>
                            <a:srgbClr val="000000"/>
                          </a:solidFill>
                          <a:effectLst/>
                          <a:latin typeface="Aptos Narrow" panose="020B0004020202020204" pitchFamily="34" charset="0"/>
                        </a:rPr>
                        <a:t>28035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US"/>
                    </a:p>
                  </a:txBody>
                  <a:tcPr/>
                </a:tc>
                <a:extLst>
                  <a:ext uri="{0D108BD9-81ED-4DB2-BD59-A6C34878D82A}">
                    <a16:rowId xmlns:a16="http://schemas.microsoft.com/office/drawing/2014/main" val="2305807202"/>
                  </a:ext>
                </a:extLst>
              </a:tr>
              <a:tr h="229616">
                <a:tc>
                  <a:txBody>
                    <a:bodyPr/>
                    <a:lstStyle/>
                    <a:p>
                      <a:pPr algn="l" fontAlgn="b"/>
                      <a:r>
                        <a:rPr lang="en-US" sz="1600" b="1" i="0" u="none" strike="noStrike" dirty="0">
                          <a:solidFill>
                            <a:srgbClr val="000000"/>
                          </a:solidFill>
                          <a:effectLst/>
                          <a:latin typeface="Aptos Narrow" panose="020B0004020202020204" pitchFamily="34"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1" i="0" u="none" strike="noStrike">
                          <a:solidFill>
                            <a:srgbClr val="000000"/>
                          </a:solidFill>
                          <a:effectLst/>
                          <a:latin typeface="Aptos Narrow" panose="020B0004020202020204" pitchFamily="34" charset="0"/>
                        </a:rPr>
                        <a:t>Target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1" i="0" u="none" strike="noStrike">
                          <a:solidFill>
                            <a:srgbClr val="000000"/>
                          </a:solidFill>
                          <a:effectLst/>
                          <a:latin typeface="Aptos Narrow" panose="020B0004020202020204" pitchFamily="34" charset="0"/>
                        </a:rPr>
                        <a:t>Targe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660685330"/>
                  </a:ext>
                </a:extLst>
              </a:tr>
              <a:tr h="229616">
                <a:tc>
                  <a:txBody>
                    <a:bodyPr/>
                    <a:lstStyle/>
                    <a:p>
                      <a:pPr algn="l" fontAlgn="b"/>
                      <a:r>
                        <a:rPr lang="en-US" sz="1600" b="0" i="0" u="none" strike="noStrike">
                          <a:solidFill>
                            <a:srgbClr val="000000"/>
                          </a:solidFill>
                          <a:effectLst/>
                          <a:latin typeface="Aptos Narrow" panose="020B0004020202020204" pitchFamily="34" charset="0"/>
                        </a:rPr>
                        <a:t>Targets Coun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a:solidFill>
                            <a:srgbClr val="000000"/>
                          </a:solidFill>
                          <a:effectLst/>
                          <a:latin typeface="Aptos Narrow" panose="020B0004020202020204" pitchFamily="34" charset="0"/>
                        </a:rPr>
                        <a:t>1401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a:solidFill>
                            <a:srgbClr val="000000"/>
                          </a:solidFill>
                          <a:effectLst/>
                          <a:latin typeface="Aptos Narrow" panose="020B0004020202020204" pitchFamily="34" charset="0"/>
                        </a:rPr>
                        <a:t>2663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76762858"/>
                  </a:ext>
                </a:extLst>
              </a:tr>
              <a:tr h="229616">
                <a:tc>
                  <a:txBody>
                    <a:bodyPr/>
                    <a:lstStyle/>
                    <a:p>
                      <a:pPr algn="l" fontAlgn="b"/>
                      <a:r>
                        <a:rPr lang="en-US" sz="1600" b="0" i="0" u="none" strike="noStrike">
                          <a:solidFill>
                            <a:srgbClr val="000000"/>
                          </a:solidFill>
                          <a:effectLst/>
                          <a:latin typeface="Aptos Narrow" panose="020B0004020202020204" pitchFamily="34" charset="0"/>
                        </a:rPr>
                        <a:t>Percentag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a:solidFill>
                            <a:srgbClr val="000000"/>
                          </a:solidFill>
                          <a:effectLst/>
                          <a:latin typeface="Aptos Narrow" panose="020B0004020202020204" pitchFamily="34" charset="0"/>
                        </a:rPr>
                        <a:t>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dirty="0">
                          <a:solidFill>
                            <a:srgbClr val="000000"/>
                          </a:solidFill>
                          <a:effectLst/>
                          <a:latin typeface="Aptos Narrow" panose="020B0004020202020204" pitchFamily="34" charset="0"/>
                        </a:rPr>
                        <a:t>9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34740004"/>
                  </a:ext>
                </a:extLst>
              </a:tr>
            </a:tbl>
          </a:graphicData>
        </a:graphic>
      </p:graphicFrame>
      <p:graphicFrame>
        <p:nvGraphicFramePr>
          <p:cNvPr id="23" name="Table 22">
            <a:extLst>
              <a:ext uri="{FF2B5EF4-FFF2-40B4-BE49-F238E27FC236}">
                <a16:creationId xmlns:a16="http://schemas.microsoft.com/office/drawing/2014/main" id="{7A5AFFCA-EE37-99EA-BFE0-C83BCDAEC7A5}"/>
              </a:ext>
            </a:extLst>
          </p:cNvPr>
          <p:cNvGraphicFramePr>
            <a:graphicFrameLocks noGrp="1"/>
          </p:cNvGraphicFramePr>
          <p:nvPr/>
        </p:nvGraphicFramePr>
        <p:xfrm>
          <a:off x="7874952" y="4184142"/>
          <a:ext cx="3340100" cy="800100"/>
        </p:xfrm>
        <a:graphic>
          <a:graphicData uri="http://schemas.openxmlformats.org/drawingml/2006/table">
            <a:tbl>
              <a:tblPr/>
              <a:tblGrid>
                <a:gridCol w="2074478">
                  <a:extLst>
                    <a:ext uri="{9D8B030D-6E8A-4147-A177-3AD203B41FA5}">
                      <a16:colId xmlns:a16="http://schemas.microsoft.com/office/drawing/2014/main" val="1710935057"/>
                    </a:ext>
                  </a:extLst>
                </a:gridCol>
                <a:gridCol w="1265622">
                  <a:extLst>
                    <a:ext uri="{9D8B030D-6E8A-4147-A177-3AD203B41FA5}">
                      <a16:colId xmlns:a16="http://schemas.microsoft.com/office/drawing/2014/main" val="3839810536"/>
                    </a:ext>
                  </a:extLst>
                </a:gridCol>
              </a:tblGrid>
              <a:tr h="266700">
                <a:tc gridSpan="2">
                  <a:txBody>
                    <a:bodyPr/>
                    <a:lstStyle/>
                    <a:p>
                      <a:pPr algn="ctr" fontAlgn="b"/>
                      <a:r>
                        <a:rPr lang="en-US" sz="1600" b="0" i="0" u="none" strike="noStrike">
                          <a:solidFill>
                            <a:srgbClr val="000000"/>
                          </a:solidFill>
                          <a:effectLst/>
                          <a:latin typeface="Aptos Narrow" panose="020B0004020202020204" pitchFamily="34" charset="0"/>
                        </a:rPr>
                        <a:t>Split OOT data on Baby's DOB</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US"/>
                    </a:p>
                  </a:txBody>
                  <a:tcPr/>
                </a:tc>
                <a:extLst>
                  <a:ext uri="{0D108BD9-81ED-4DB2-BD59-A6C34878D82A}">
                    <a16:rowId xmlns:a16="http://schemas.microsoft.com/office/drawing/2014/main" val="757499434"/>
                  </a:ext>
                </a:extLst>
              </a:tr>
              <a:tr h="266700">
                <a:tc>
                  <a:txBody>
                    <a:bodyPr/>
                    <a:lstStyle/>
                    <a:p>
                      <a:pPr algn="l" fontAlgn="b"/>
                      <a:r>
                        <a:rPr lang="en-US" sz="1600" b="0" i="0" u="none" strike="noStrike">
                          <a:solidFill>
                            <a:srgbClr val="000000"/>
                          </a:solidFill>
                          <a:effectLst/>
                          <a:latin typeface="Aptos Narrow" panose="020B0004020202020204" pitchFamily="34" charset="0"/>
                        </a:rPr>
                        <a:t>Jan-Jun 2024 (OOT Tabl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a:solidFill>
                            <a:srgbClr val="000000"/>
                          </a:solidFill>
                          <a:effectLst/>
                          <a:latin typeface="Aptos Narrow" panose="020B0004020202020204" pitchFamily="34" charset="0"/>
                        </a:rPr>
                        <a:t>8166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3896635"/>
                  </a:ext>
                </a:extLst>
              </a:tr>
              <a:tr h="266700">
                <a:tc>
                  <a:txBody>
                    <a:bodyPr/>
                    <a:lstStyle/>
                    <a:p>
                      <a:pPr algn="l" fontAlgn="b"/>
                      <a:r>
                        <a:rPr lang="en-US" sz="1600" b="0" i="0" u="none" strike="noStrike">
                          <a:solidFill>
                            <a:srgbClr val="000000"/>
                          </a:solidFill>
                          <a:effectLst/>
                          <a:latin typeface="Aptos Narrow" panose="020B0004020202020204" pitchFamily="34" charset="0"/>
                        </a:rPr>
                        <a:t>Jul-Sep 2024 (OOT Tabl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600" b="0" i="0" u="none" strike="noStrike" dirty="0">
                          <a:solidFill>
                            <a:srgbClr val="000000"/>
                          </a:solidFill>
                          <a:effectLst/>
                          <a:latin typeface="Aptos Narrow" panose="020B0004020202020204" pitchFamily="34" charset="0"/>
                        </a:rPr>
                        <a:t>4257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5707447"/>
                  </a:ext>
                </a:extLst>
              </a:tr>
            </a:tbl>
          </a:graphicData>
        </a:graphic>
      </p:graphicFrame>
      <p:pic>
        <p:nvPicPr>
          <p:cNvPr id="24" name="Picture 23">
            <a:extLst>
              <a:ext uri="{FF2B5EF4-FFF2-40B4-BE49-F238E27FC236}">
                <a16:creationId xmlns:a16="http://schemas.microsoft.com/office/drawing/2014/main" id="{D4F3C8F4-EA75-70DD-371F-6B00885302C9}"/>
              </a:ext>
            </a:extLst>
          </p:cNvPr>
          <p:cNvPicPr>
            <a:picLocks noChangeAspect="1"/>
          </p:cNvPicPr>
          <p:nvPr/>
        </p:nvPicPr>
        <p:blipFill>
          <a:blip r:embed="rId3"/>
          <a:stretch>
            <a:fillRect/>
          </a:stretch>
        </p:blipFill>
        <p:spPr>
          <a:xfrm>
            <a:off x="568960" y="4184141"/>
            <a:ext cx="3621208" cy="807720"/>
          </a:xfrm>
          <a:prstGeom prst="rect">
            <a:avLst/>
          </a:prstGeom>
        </p:spPr>
      </p:pic>
    </p:spTree>
    <p:extLst>
      <p:ext uri="{BB962C8B-B14F-4D97-AF65-F5344CB8AC3E}">
        <p14:creationId xmlns:p14="http://schemas.microsoft.com/office/powerpoint/2010/main" val="38070584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F5B55-9A4E-F8B1-DC19-847A02D417FC}"/>
              </a:ext>
            </a:extLst>
          </p:cNvPr>
          <p:cNvSpPr>
            <a:spLocks noGrp="1"/>
          </p:cNvSpPr>
          <p:nvPr>
            <p:ph type="title"/>
          </p:nvPr>
        </p:nvSpPr>
        <p:spPr/>
        <p:txBody>
          <a:bodyPr/>
          <a:lstStyle/>
          <a:p>
            <a:r>
              <a:rPr lang="en-US" dirty="0"/>
              <a:t>IHAN  Results – Iteration_4_V1 VS Iteration_4_V3</a:t>
            </a:r>
          </a:p>
        </p:txBody>
      </p:sp>
      <p:graphicFrame>
        <p:nvGraphicFramePr>
          <p:cNvPr id="14" name="Content Placeholder 13">
            <a:extLst>
              <a:ext uri="{FF2B5EF4-FFF2-40B4-BE49-F238E27FC236}">
                <a16:creationId xmlns:a16="http://schemas.microsoft.com/office/drawing/2014/main" id="{DD696DBF-1B1C-D845-1FCA-27B5BF74BAC9}"/>
              </a:ext>
            </a:extLst>
          </p:cNvPr>
          <p:cNvGraphicFramePr>
            <a:graphicFrameLocks noGrp="1"/>
          </p:cNvGraphicFramePr>
          <p:nvPr>
            <p:ph idx="1"/>
            <p:extLst>
              <p:ext uri="{D42A27DB-BD31-4B8C-83A1-F6EECF244321}">
                <p14:modId xmlns:p14="http://schemas.microsoft.com/office/powerpoint/2010/main" val="1928982114"/>
              </p:ext>
            </p:extLst>
          </p:nvPr>
        </p:nvGraphicFramePr>
        <p:xfrm>
          <a:off x="457201" y="1984918"/>
          <a:ext cx="10838984" cy="3702204"/>
        </p:xfrm>
        <a:graphic>
          <a:graphicData uri="http://schemas.openxmlformats.org/drawingml/2006/table">
            <a:tbl>
              <a:tblPr/>
              <a:tblGrid>
                <a:gridCol w="1259430">
                  <a:extLst>
                    <a:ext uri="{9D8B030D-6E8A-4147-A177-3AD203B41FA5}">
                      <a16:colId xmlns:a16="http://schemas.microsoft.com/office/drawing/2014/main" val="2313995243"/>
                    </a:ext>
                  </a:extLst>
                </a:gridCol>
                <a:gridCol w="1147613">
                  <a:extLst>
                    <a:ext uri="{9D8B030D-6E8A-4147-A177-3AD203B41FA5}">
                      <a16:colId xmlns:a16="http://schemas.microsoft.com/office/drawing/2014/main" val="465582631"/>
                    </a:ext>
                  </a:extLst>
                </a:gridCol>
                <a:gridCol w="948228">
                  <a:extLst>
                    <a:ext uri="{9D8B030D-6E8A-4147-A177-3AD203B41FA5}">
                      <a16:colId xmlns:a16="http://schemas.microsoft.com/office/drawing/2014/main" val="639421541"/>
                    </a:ext>
                  </a:extLst>
                </a:gridCol>
                <a:gridCol w="1269167">
                  <a:extLst>
                    <a:ext uri="{9D8B030D-6E8A-4147-A177-3AD203B41FA5}">
                      <a16:colId xmlns:a16="http://schemas.microsoft.com/office/drawing/2014/main" val="2887125039"/>
                    </a:ext>
                  </a:extLst>
                </a:gridCol>
                <a:gridCol w="1385873">
                  <a:extLst>
                    <a:ext uri="{9D8B030D-6E8A-4147-A177-3AD203B41FA5}">
                      <a16:colId xmlns:a16="http://schemas.microsoft.com/office/drawing/2014/main" val="553451892"/>
                    </a:ext>
                  </a:extLst>
                </a:gridCol>
                <a:gridCol w="1298344">
                  <a:extLst>
                    <a:ext uri="{9D8B030D-6E8A-4147-A177-3AD203B41FA5}">
                      <a16:colId xmlns:a16="http://schemas.microsoft.com/office/drawing/2014/main" val="1556187782"/>
                    </a:ext>
                  </a:extLst>
                </a:gridCol>
                <a:gridCol w="1210815">
                  <a:extLst>
                    <a:ext uri="{9D8B030D-6E8A-4147-A177-3AD203B41FA5}">
                      <a16:colId xmlns:a16="http://schemas.microsoft.com/office/drawing/2014/main" val="1183390583"/>
                    </a:ext>
                  </a:extLst>
                </a:gridCol>
                <a:gridCol w="1283756">
                  <a:extLst>
                    <a:ext uri="{9D8B030D-6E8A-4147-A177-3AD203B41FA5}">
                      <a16:colId xmlns:a16="http://schemas.microsoft.com/office/drawing/2014/main" val="3055644546"/>
                    </a:ext>
                  </a:extLst>
                </a:gridCol>
                <a:gridCol w="1035758">
                  <a:extLst>
                    <a:ext uri="{9D8B030D-6E8A-4147-A177-3AD203B41FA5}">
                      <a16:colId xmlns:a16="http://schemas.microsoft.com/office/drawing/2014/main" val="3568210599"/>
                    </a:ext>
                  </a:extLst>
                </a:gridCol>
              </a:tblGrid>
              <a:tr h="1645424">
                <a:tc>
                  <a:txBody>
                    <a:bodyPr/>
                    <a:lstStyle/>
                    <a:p>
                      <a:pPr algn="l" fontAlgn="b"/>
                      <a:r>
                        <a:rPr lang="en-US" sz="1800" b="0" i="0" u="none" strike="noStrike">
                          <a:solidFill>
                            <a:srgbClr val="000000"/>
                          </a:solidFill>
                          <a:effectLst/>
                          <a:latin typeface="+mj-lt"/>
                        </a:rPr>
                        <a:t>IHAN_MODEL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800" b="0" i="0" u="none" strike="noStrike">
                          <a:solidFill>
                            <a:srgbClr val="000000"/>
                          </a:solidFill>
                          <a:effectLst/>
                          <a:latin typeface="+mj-lt"/>
                        </a:rPr>
                        <a:t>ITER4__V1_TRAIN_VAL_AU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800" b="0" i="0" u="none" strike="noStrike">
                          <a:solidFill>
                            <a:srgbClr val="000000"/>
                          </a:solidFill>
                          <a:effectLst/>
                          <a:latin typeface="+mj-lt"/>
                        </a:rPr>
                        <a:t>ITER4__V3_TRAIN_VAL_AU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800" b="0" i="0" u="none" strike="noStrike">
                          <a:solidFill>
                            <a:srgbClr val="000000"/>
                          </a:solidFill>
                          <a:effectLst/>
                          <a:latin typeface="+mj-lt"/>
                        </a:rPr>
                        <a:t>ITER4_V1_OOT_COMPLETE_DATA_AU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800" b="0" i="0" u="none" strike="noStrike">
                          <a:solidFill>
                            <a:srgbClr val="000000"/>
                          </a:solidFill>
                          <a:effectLst/>
                          <a:latin typeface="+mj-lt"/>
                        </a:rPr>
                        <a:t>ITER4_V3_OOT_COMPLETE_DATA_AU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800" b="0" i="0" u="none" strike="noStrike">
                          <a:solidFill>
                            <a:srgbClr val="000000"/>
                          </a:solidFill>
                          <a:effectLst/>
                          <a:latin typeface="+mj-lt"/>
                        </a:rPr>
                        <a:t>ITER4_V1_OOT_1ST_6MNTH_AU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800" b="0" i="0" u="none" strike="noStrike">
                          <a:solidFill>
                            <a:srgbClr val="000000"/>
                          </a:solidFill>
                          <a:effectLst/>
                          <a:latin typeface="+mj-lt"/>
                        </a:rPr>
                        <a:t>ITER4_V3_OOT_1ST_6MNTH_AU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800" b="0" i="0" u="none" strike="noStrike">
                          <a:solidFill>
                            <a:srgbClr val="000000"/>
                          </a:solidFill>
                          <a:effectLst/>
                          <a:latin typeface="+mj-lt"/>
                        </a:rPr>
                        <a:t>ITER4_V1_OOT_LAST_3MNTH_AU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800" b="0" i="0" u="none" strike="noStrike">
                          <a:solidFill>
                            <a:srgbClr val="000000"/>
                          </a:solidFill>
                          <a:effectLst/>
                          <a:latin typeface="+mj-lt"/>
                        </a:rPr>
                        <a:t>ITER4_V3_OOT_LAST_3MNTH_AU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992591819"/>
                  </a:ext>
                </a:extLst>
              </a:tr>
              <a:tr h="411356">
                <a:tc>
                  <a:txBody>
                    <a:bodyPr/>
                    <a:lstStyle/>
                    <a:p>
                      <a:pPr algn="l" fontAlgn="b"/>
                      <a:r>
                        <a:rPr lang="en-US" sz="1800" b="0" i="0" u="none" strike="noStrike">
                          <a:solidFill>
                            <a:srgbClr val="000000"/>
                          </a:solidFill>
                          <a:effectLst/>
                          <a:latin typeface="+mj-lt"/>
                        </a:rPr>
                        <a:t>IHAN_30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a:solidFill>
                            <a:srgbClr val="000000"/>
                          </a:solidFill>
                          <a:effectLst/>
                          <a:latin typeface="+mj-lt"/>
                        </a:rPr>
                        <a:t>0.9009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a:solidFill>
                            <a:srgbClr val="000000"/>
                          </a:solidFill>
                          <a:effectLst/>
                          <a:latin typeface="+mj-lt"/>
                        </a:rPr>
                        <a:t>0.8296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800" b="0" i="0" u="none" strike="noStrike">
                          <a:solidFill>
                            <a:srgbClr val="000000"/>
                          </a:solidFill>
                          <a:effectLst/>
                          <a:latin typeface="+mj-lt"/>
                        </a:rPr>
                        <a:t>0.895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a:solidFill>
                            <a:srgbClr val="000000"/>
                          </a:solidFill>
                          <a:effectLst/>
                          <a:latin typeface="+mj-lt"/>
                        </a:rPr>
                        <a:t>0.820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800" b="0" i="0" u="none" strike="noStrike">
                          <a:solidFill>
                            <a:srgbClr val="000000"/>
                          </a:solidFill>
                          <a:effectLst/>
                          <a:latin typeface="+mj-lt"/>
                        </a:rPr>
                        <a:t>0.903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a:solidFill>
                            <a:srgbClr val="000000"/>
                          </a:solidFill>
                          <a:effectLst/>
                          <a:latin typeface="+mj-lt"/>
                        </a:rPr>
                        <a:t>0.826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800" b="0" i="0" u="none" strike="noStrike">
                          <a:solidFill>
                            <a:srgbClr val="000000"/>
                          </a:solidFill>
                          <a:effectLst/>
                          <a:latin typeface="+mj-lt"/>
                        </a:rPr>
                        <a:t>0.874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a:solidFill>
                            <a:srgbClr val="000000"/>
                          </a:solidFill>
                          <a:effectLst/>
                          <a:latin typeface="+mj-lt"/>
                        </a:rPr>
                        <a:t>0.802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20768663"/>
                  </a:ext>
                </a:extLst>
              </a:tr>
              <a:tr h="411356">
                <a:tc>
                  <a:txBody>
                    <a:bodyPr/>
                    <a:lstStyle/>
                    <a:p>
                      <a:pPr algn="l" fontAlgn="b"/>
                      <a:r>
                        <a:rPr lang="en-US" sz="1800" b="0" i="0" u="none" strike="noStrike">
                          <a:solidFill>
                            <a:srgbClr val="000000"/>
                          </a:solidFill>
                          <a:effectLst/>
                          <a:latin typeface="+mj-lt"/>
                        </a:rPr>
                        <a:t>IHAN_20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800" b="0" i="0" u="none" strike="noStrike">
                          <a:solidFill>
                            <a:srgbClr val="000000"/>
                          </a:solidFill>
                          <a:effectLst/>
                          <a:latin typeface="+mj-lt"/>
                        </a:rPr>
                        <a:t>0.89268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a:solidFill>
                            <a:srgbClr val="000000"/>
                          </a:solidFill>
                          <a:effectLst/>
                          <a:latin typeface="+mj-lt"/>
                        </a:rPr>
                        <a:t>0.8194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800" b="0" i="0" u="none" strike="noStrike">
                          <a:solidFill>
                            <a:srgbClr val="000000"/>
                          </a:solidFill>
                          <a:effectLst/>
                          <a:latin typeface="+mj-lt"/>
                        </a:rPr>
                        <a:t>0.879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a:solidFill>
                            <a:srgbClr val="000000"/>
                          </a:solidFill>
                          <a:effectLst/>
                          <a:latin typeface="+mj-lt"/>
                        </a:rPr>
                        <a:t>0.819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800" b="0" i="0" u="none" strike="noStrike">
                          <a:solidFill>
                            <a:srgbClr val="000000"/>
                          </a:solidFill>
                          <a:effectLst/>
                          <a:latin typeface="+mj-lt"/>
                        </a:rPr>
                        <a:t>0.886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a:solidFill>
                            <a:srgbClr val="000000"/>
                          </a:solidFill>
                          <a:effectLst/>
                          <a:latin typeface="+mj-lt"/>
                        </a:rPr>
                        <a:t>0.825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800" b="0" i="0" u="none" strike="noStrike">
                          <a:solidFill>
                            <a:srgbClr val="000000"/>
                          </a:solidFill>
                          <a:effectLst/>
                          <a:latin typeface="+mj-lt"/>
                        </a:rPr>
                        <a:t>0.859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a:solidFill>
                            <a:srgbClr val="000000"/>
                          </a:solidFill>
                          <a:effectLst/>
                          <a:latin typeface="+mj-lt"/>
                        </a:rPr>
                        <a:t>0.80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37295150"/>
                  </a:ext>
                </a:extLst>
              </a:tr>
              <a:tr h="411356">
                <a:tc>
                  <a:txBody>
                    <a:bodyPr/>
                    <a:lstStyle/>
                    <a:p>
                      <a:pPr algn="l" fontAlgn="b"/>
                      <a:r>
                        <a:rPr lang="en-US" sz="1800" b="0" i="0" u="none" strike="noStrike">
                          <a:solidFill>
                            <a:srgbClr val="000000"/>
                          </a:solidFill>
                          <a:effectLst/>
                          <a:latin typeface="+mj-lt"/>
                        </a:rPr>
                        <a:t>IHAN_30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800" b="0" i="0" u="none" strike="noStrike">
                          <a:solidFill>
                            <a:srgbClr val="000000"/>
                          </a:solidFill>
                          <a:effectLst/>
                          <a:latin typeface="+mj-lt"/>
                        </a:rPr>
                        <a:t>0.90426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a:solidFill>
                            <a:srgbClr val="000000"/>
                          </a:solidFill>
                          <a:effectLst/>
                          <a:latin typeface="+mj-lt"/>
                        </a:rPr>
                        <a:t>0.8284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800" b="0" i="0" u="none" strike="noStrike">
                          <a:solidFill>
                            <a:srgbClr val="000000"/>
                          </a:solidFill>
                          <a:effectLst/>
                          <a:latin typeface="+mj-lt"/>
                        </a:rPr>
                        <a:t>0.899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a:solidFill>
                            <a:srgbClr val="000000"/>
                          </a:solidFill>
                          <a:effectLst/>
                          <a:latin typeface="+mj-lt"/>
                        </a:rPr>
                        <a:t>0.818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800" b="0" i="0" u="none" strike="noStrike">
                          <a:solidFill>
                            <a:srgbClr val="000000"/>
                          </a:solidFill>
                          <a:effectLst/>
                          <a:latin typeface="+mj-lt"/>
                        </a:rPr>
                        <a:t>0.906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a:solidFill>
                            <a:srgbClr val="000000"/>
                          </a:solidFill>
                          <a:effectLst/>
                          <a:latin typeface="+mj-lt"/>
                        </a:rPr>
                        <a:t>0.824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800" b="0" i="0" u="none" strike="noStrike">
                          <a:solidFill>
                            <a:srgbClr val="000000"/>
                          </a:solidFill>
                          <a:effectLst/>
                          <a:latin typeface="+mj-lt"/>
                        </a:rPr>
                        <a:t>0.880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a:solidFill>
                            <a:srgbClr val="000000"/>
                          </a:solidFill>
                          <a:effectLst/>
                          <a:latin typeface="+mj-lt"/>
                        </a:rPr>
                        <a:t>0.800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14676219"/>
                  </a:ext>
                </a:extLst>
              </a:tr>
              <a:tr h="411356">
                <a:tc>
                  <a:txBody>
                    <a:bodyPr/>
                    <a:lstStyle/>
                    <a:p>
                      <a:pPr algn="l" fontAlgn="b"/>
                      <a:r>
                        <a:rPr lang="en-US" sz="1800" b="0" i="0" u="none" strike="noStrike">
                          <a:solidFill>
                            <a:srgbClr val="000000"/>
                          </a:solidFill>
                          <a:effectLst/>
                          <a:latin typeface="+mj-lt"/>
                        </a:rPr>
                        <a:t>IHAN_30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800" b="0" i="0" u="none" strike="noStrike">
                          <a:solidFill>
                            <a:srgbClr val="000000"/>
                          </a:solidFill>
                          <a:effectLst/>
                          <a:latin typeface="+mj-lt"/>
                        </a:rPr>
                        <a:t>0.90494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a:solidFill>
                            <a:srgbClr val="000000"/>
                          </a:solidFill>
                          <a:effectLst/>
                          <a:latin typeface="+mj-lt"/>
                        </a:rPr>
                        <a:t>0.8329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800" b="0" i="0" u="none" strike="noStrike">
                          <a:solidFill>
                            <a:srgbClr val="000000"/>
                          </a:solidFill>
                          <a:effectLst/>
                          <a:latin typeface="+mj-lt"/>
                        </a:rPr>
                        <a:t>0.902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a:solidFill>
                            <a:srgbClr val="000000"/>
                          </a:solidFill>
                          <a:effectLst/>
                          <a:latin typeface="+mj-lt"/>
                        </a:rPr>
                        <a:t>0.824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800" b="0" i="0" u="none" strike="noStrike">
                          <a:solidFill>
                            <a:srgbClr val="000000"/>
                          </a:solidFill>
                          <a:effectLst/>
                          <a:latin typeface="+mj-lt"/>
                        </a:rPr>
                        <a:t>0.90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a:solidFill>
                            <a:srgbClr val="000000"/>
                          </a:solidFill>
                          <a:effectLst/>
                          <a:latin typeface="+mj-lt"/>
                        </a:rPr>
                        <a:t>0.828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800" b="0" i="0" u="none" strike="noStrike">
                          <a:solidFill>
                            <a:srgbClr val="000000"/>
                          </a:solidFill>
                          <a:effectLst/>
                          <a:latin typeface="+mj-lt"/>
                        </a:rPr>
                        <a:t>0.885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a:solidFill>
                            <a:srgbClr val="000000"/>
                          </a:solidFill>
                          <a:effectLst/>
                          <a:latin typeface="+mj-lt"/>
                        </a:rPr>
                        <a:t>0.815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28468123"/>
                  </a:ext>
                </a:extLst>
              </a:tr>
              <a:tr h="411356">
                <a:tc>
                  <a:txBody>
                    <a:bodyPr/>
                    <a:lstStyle/>
                    <a:p>
                      <a:pPr algn="l" fontAlgn="b"/>
                      <a:r>
                        <a:rPr lang="en-US" sz="1800" b="0" i="0" u="none" strike="noStrike">
                          <a:solidFill>
                            <a:srgbClr val="000000"/>
                          </a:solidFill>
                          <a:effectLst/>
                          <a:latin typeface="+mj-lt"/>
                        </a:rPr>
                        <a:t>IHAN_40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800" b="0" i="0" u="none" strike="noStrike">
                          <a:solidFill>
                            <a:srgbClr val="000000"/>
                          </a:solidFill>
                          <a:effectLst/>
                          <a:latin typeface="+mj-lt"/>
                        </a:rPr>
                        <a:t>0.90365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a:solidFill>
                            <a:srgbClr val="000000"/>
                          </a:solidFill>
                          <a:effectLst/>
                          <a:latin typeface="+mj-lt"/>
                        </a:rPr>
                        <a:t>0.8367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800" b="0" i="0" u="none" strike="noStrike">
                          <a:solidFill>
                            <a:srgbClr val="000000"/>
                          </a:solidFill>
                          <a:effectLst/>
                          <a:latin typeface="+mj-lt"/>
                        </a:rPr>
                        <a:t>0.90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a:solidFill>
                            <a:srgbClr val="000000"/>
                          </a:solidFill>
                          <a:effectLst/>
                          <a:latin typeface="+mj-lt"/>
                        </a:rPr>
                        <a:t>0.823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800" b="0" i="0" u="none" strike="noStrike">
                          <a:solidFill>
                            <a:srgbClr val="000000"/>
                          </a:solidFill>
                          <a:effectLst/>
                          <a:latin typeface="+mj-lt"/>
                        </a:rPr>
                        <a:t>0.907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a:solidFill>
                            <a:srgbClr val="000000"/>
                          </a:solidFill>
                          <a:effectLst/>
                          <a:latin typeface="+mj-lt"/>
                        </a:rPr>
                        <a:t>0.827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800" b="0" i="0" u="none" strike="noStrike">
                          <a:solidFill>
                            <a:srgbClr val="000000"/>
                          </a:solidFill>
                          <a:effectLst/>
                          <a:latin typeface="+mj-lt"/>
                        </a:rPr>
                        <a:t>0.881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800" b="0" i="0" u="none" strike="noStrike" dirty="0">
                          <a:solidFill>
                            <a:srgbClr val="000000"/>
                          </a:solidFill>
                          <a:effectLst/>
                          <a:latin typeface="+mj-lt"/>
                        </a:rPr>
                        <a:t>0.812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8434089"/>
                  </a:ext>
                </a:extLst>
              </a:tr>
            </a:tbl>
          </a:graphicData>
        </a:graphic>
      </p:graphicFrame>
    </p:spTree>
    <p:extLst>
      <p:ext uri="{BB962C8B-B14F-4D97-AF65-F5344CB8AC3E}">
        <p14:creationId xmlns:p14="http://schemas.microsoft.com/office/powerpoint/2010/main" val="17755261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17EB81-E0C6-0479-DC96-3D190DA8823D}"/>
              </a:ext>
            </a:extLst>
          </p:cNvPr>
          <p:cNvSpPr>
            <a:spLocks noGrp="1"/>
          </p:cNvSpPr>
          <p:nvPr>
            <p:ph type="title"/>
          </p:nvPr>
        </p:nvSpPr>
        <p:spPr/>
        <p:txBody>
          <a:bodyPr/>
          <a:lstStyle/>
          <a:p>
            <a:r>
              <a:rPr lang="en-US" dirty="0"/>
              <a:t>IHAN  Results – Iteration_4_V1 VS Iteration_4_V3</a:t>
            </a:r>
          </a:p>
        </p:txBody>
      </p:sp>
      <p:graphicFrame>
        <p:nvGraphicFramePr>
          <p:cNvPr id="5" name="Content Placeholder 4">
            <a:extLst>
              <a:ext uri="{FF2B5EF4-FFF2-40B4-BE49-F238E27FC236}">
                <a16:creationId xmlns:a16="http://schemas.microsoft.com/office/drawing/2014/main" id="{5C573BC1-3634-105B-D49E-267459084AEE}"/>
              </a:ext>
            </a:extLst>
          </p:cNvPr>
          <p:cNvGraphicFramePr>
            <a:graphicFrameLocks noGrp="1"/>
          </p:cNvGraphicFramePr>
          <p:nvPr>
            <p:ph idx="1"/>
            <p:extLst>
              <p:ext uri="{D42A27DB-BD31-4B8C-83A1-F6EECF244321}">
                <p14:modId xmlns:p14="http://schemas.microsoft.com/office/powerpoint/2010/main" val="2429439019"/>
              </p:ext>
            </p:extLst>
          </p:nvPr>
        </p:nvGraphicFramePr>
        <p:xfrm>
          <a:off x="457200" y="1693863"/>
          <a:ext cx="11293475" cy="431323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533680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18D34-9A0D-6A6C-9B33-8983CE5BDC3E}"/>
              </a:ext>
            </a:extLst>
          </p:cNvPr>
          <p:cNvSpPr>
            <a:spLocks noGrp="1"/>
          </p:cNvSpPr>
          <p:nvPr>
            <p:ph type="title"/>
          </p:nvPr>
        </p:nvSpPr>
        <p:spPr/>
        <p:txBody>
          <a:bodyPr/>
          <a:lstStyle/>
          <a:p>
            <a:r>
              <a:rPr lang="en-US" dirty="0"/>
              <a:t>IHAN  Results – Iteration_4_V1 VS Iteration_4_V3</a:t>
            </a:r>
          </a:p>
        </p:txBody>
      </p:sp>
      <p:graphicFrame>
        <p:nvGraphicFramePr>
          <p:cNvPr id="5" name="Content Placeholder 4">
            <a:extLst>
              <a:ext uri="{FF2B5EF4-FFF2-40B4-BE49-F238E27FC236}">
                <a16:creationId xmlns:a16="http://schemas.microsoft.com/office/drawing/2014/main" id="{209613E0-BF3D-F9EA-F1C6-B9FDA7C42CE5}"/>
              </a:ext>
            </a:extLst>
          </p:cNvPr>
          <p:cNvGraphicFramePr>
            <a:graphicFrameLocks noGrp="1"/>
          </p:cNvGraphicFramePr>
          <p:nvPr>
            <p:ph idx="1"/>
            <p:extLst>
              <p:ext uri="{D42A27DB-BD31-4B8C-83A1-F6EECF244321}">
                <p14:modId xmlns:p14="http://schemas.microsoft.com/office/powerpoint/2010/main" val="2925002169"/>
              </p:ext>
            </p:extLst>
          </p:nvPr>
        </p:nvGraphicFramePr>
        <p:xfrm>
          <a:off x="457200" y="1693863"/>
          <a:ext cx="11293475" cy="431323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658387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7A6C4C-568A-852E-750C-00A21AC4FC40}"/>
              </a:ext>
            </a:extLst>
          </p:cNvPr>
          <p:cNvSpPr>
            <a:spLocks noGrp="1"/>
          </p:cNvSpPr>
          <p:nvPr>
            <p:ph type="title"/>
          </p:nvPr>
        </p:nvSpPr>
        <p:spPr/>
        <p:txBody>
          <a:bodyPr/>
          <a:lstStyle/>
          <a:p>
            <a:r>
              <a:rPr lang="en-US" dirty="0"/>
              <a:t>Iteration 4 V1 &amp; V3 OOT Test score table</a:t>
            </a:r>
          </a:p>
        </p:txBody>
      </p:sp>
      <p:graphicFrame>
        <p:nvGraphicFramePr>
          <p:cNvPr id="9" name="Content Placeholder 8">
            <a:extLst>
              <a:ext uri="{FF2B5EF4-FFF2-40B4-BE49-F238E27FC236}">
                <a16:creationId xmlns:a16="http://schemas.microsoft.com/office/drawing/2014/main" id="{22CBA254-3E01-07B5-19E4-79E5DC98F119}"/>
              </a:ext>
            </a:extLst>
          </p:cNvPr>
          <p:cNvGraphicFramePr>
            <a:graphicFrameLocks noGrp="1"/>
          </p:cNvGraphicFramePr>
          <p:nvPr>
            <p:ph idx="1"/>
            <p:extLst>
              <p:ext uri="{D42A27DB-BD31-4B8C-83A1-F6EECF244321}">
                <p14:modId xmlns:p14="http://schemas.microsoft.com/office/powerpoint/2010/main" val="2214383861"/>
              </p:ext>
            </p:extLst>
          </p:nvPr>
        </p:nvGraphicFramePr>
        <p:xfrm>
          <a:off x="1274164" y="1933731"/>
          <a:ext cx="9308892" cy="3715072"/>
        </p:xfrm>
        <a:graphic>
          <a:graphicData uri="http://schemas.openxmlformats.org/drawingml/2006/table">
            <a:tbl>
              <a:tblPr/>
              <a:tblGrid>
                <a:gridCol w="1454046">
                  <a:extLst>
                    <a:ext uri="{9D8B030D-6E8A-4147-A177-3AD203B41FA5}">
                      <a16:colId xmlns:a16="http://schemas.microsoft.com/office/drawing/2014/main" val="683114634"/>
                    </a:ext>
                  </a:extLst>
                </a:gridCol>
                <a:gridCol w="3738436">
                  <a:extLst>
                    <a:ext uri="{9D8B030D-6E8A-4147-A177-3AD203B41FA5}">
                      <a16:colId xmlns:a16="http://schemas.microsoft.com/office/drawing/2014/main" val="1824743033"/>
                    </a:ext>
                  </a:extLst>
                </a:gridCol>
                <a:gridCol w="4116410">
                  <a:extLst>
                    <a:ext uri="{9D8B030D-6E8A-4147-A177-3AD203B41FA5}">
                      <a16:colId xmlns:a16="http://schemas.microsoft.com/office/drawing/2014/main" val="2727725811"/>
                    </a:ext>
                  </a:extLst>
                </a:gridCol>
              </a:tblGrid>
              <a:tr h="678313">
                <a:tc>
                  <a:txBody>
                    <a:bodyPr/>
                    <a:lstStyle/>
                    <a:p>
                      <a:pPr algn="l" fontAlgn="b"/>
                      <a:r>
                        <a:rPr lang="en-US" sz="1600" b="1" i="0" u="none" strike="noStrike" dirty="0">
                          <a:solidFill>
                            <a:srgbClr val="000000"/>
                          </a:solidFill>
                          <a:effectLst/>
                          <a:latin typeface="Aptos Narrow" panose="020B0004020202020204" pitchFamily="34" charset="0"/>
                        </a:rPr>
                        <a:t>IHAN_MODEL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1" i="0" u="none" strike="noStrike" dirty="0">
                          <a:solidFill>
                            <a:srgbClr val="000000"/>
                          </a:solidFill>
                          <a:effectLst/>
                          <a:latin typeface="Aptos Narrow" panose="020B0004020202020204" pitchFamily="34" charset="0"/>
                        </a:rPr>
                        <a:t>TEST_OOT_SCORE_ITER4_V1_TABL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1" i="0" u="none" strike="noStrike" dirty="0">
                          <a:solidFill>
                            <a:srgbClr val="000000"/>
                          </a:solidFill>
                          <a:effectLst/>
                          <a:latin typeface="Aptos Narrow" panose="020B0004020202020204" pitchFamily="34" charset="0"/>
                        </a:rPr>
                        <a:t>TEST_OOT_SCORE_ITER4_V3_TABL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893718141"/>
                  </a:ext>
                </a:extLst>
              </a:tr>
              <a:tr h="1012253">
                <a:tc>
                  <a:txBody>
                    <a:bodyPr/>
                    <a:lstStyle/>
                    <a:p>
                      <a:pPr algn="l" fontAlgn="b"/>
                      <a:r>
                        <a:rPr lang="en-US" sz="1600" b="0" i="0" u="none" strike="noStrike" dirty="0">
                          <a:solidFill>
                            <a:srgbClr val="000000"/>
                          </a:solidFill>
                          <a:effectLst/>
                          <a:latin typeface="Aptos Narrow" panose="020B0004020202020204" pitchFamily="34" charset="0"/>
                        </a:rPr>
                        <a:t>IHAN_20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Aptos Narrow" panose="020B0004020202020204" pitchFamily="34" charset="0"/>
                        </a:rPr>
                        <a:t>NON_CRTFD_AIFS.DL_TS_STAR.HIGH_RISK_NEWBORNS_MOTHER_OOT_TEST_SCORE_ITER4_V1_IHAN20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Aptos Narrow" panose="020B0004020202020204" pitchFamily="34" charset="0"/>
                        </a:rPr>
                        <a:t>NON_CRTFD_AIFS.DL_TS_STAR.HIGH_RISK_NEWBORNS_MOTHER_OOT_TEST_SCORE_ITER4_V3_IHAN20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75428030"/>
                  </a:ext>
                </a:extLst>
              </a:tr>
              <a:tr h="1012253">
                <a:tc>
                  <a:txBody>
                    <a:bodyPr/>
                    <a:lstStyle/>
                    <a:p>
                      <a:pPr algn="l" fontAlgn="b"/>
                      <a:r>
                        <a:rPr lang="en-US" sz="1600" b="0" i="0" u="none" strike="noStrike">
                          <a:solidFill>
                            <a:srgbClr val="000000"/>
                          </a:solidFill>
                          <a:effectLst/>
                          <a:latin typeface="Aptos Narrow" panose="020B0004020202020204" pitchFamily="34" charset="0"/>
                        </a:rPr>
                        <a:t>IHAN_30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Aptos Narrow" panose="020B0004020202020204" pitchFamily="34" charset="0"/>
                        </a:rPr>
                        <a:t>NON_CRTFD_AIFS.DL_TS_STAR.HIGH_RISK_NEWBORNS_MOTHER_OOT_TEST_SCORE_ITER4_V1_IHAN30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Aptos Narrow" panose="020B0004020202020204" pitchFamily="34" charset="0"/>
                        </a:rPr>
                        <a:t>NON_CRTFD_AIFS.DL_TS_STAR.HIGH_RISK_NEWBORNS_MOTHER_OOT_TEST_SCORE_ITER4_V3_IHAN30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01821398"/>
                  </a:ext>
                </a:extLst>
              </a:tr>
              <a:tr h="1012253">
                <a:tc>
                  <a:txBody>
                    <a:bodyPr/>
                    <a:lstStyle/>
                    <a:p>
                      <a:pPr algn="l" fontAlgn="b"/>
                      <a:r>
                        <a:rPr lang="en-US" sz="1600" b="0" i="0" u="none" strike="noStrike">
                          <a:solidFill>
                            <a:srgbClr val="000000"/>
                          </a:solidFill>
                          <a:effectLst/>
                          <a:latin typeface="Aptos Narrow" panose="020B0004020202020204" pitchFamily="34" charset="0"/>
                        </a:rPr>
                        <a:t>IHAN_30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a:solidFill>
                            <a:srgbClr val="000000"/>
                          </a:solidFill>
                          <a:effectLst/>
                          <a:latin typeface="Aptos Narrow" panose="020B0004020202020204" pitchFamily="34" charset="0"/>
                        </a:rPr>
                        <a:t>NON_CRTFD_AIFS.DL_TS_STAR.HIGH_RISK_NEWBORNS_MOTHER_OOT_TEST_SCORE_ITER4_V1_IHAN30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600" b="0" i="0" u="none" strike="noStrike" dirty="0">
                          <a:solidFill>
                            <a:srgbClr val="000000"/>
                          </a:solidFill>
                          <a:effectLst/>
                          <a:latin typeface="Aptos Narrow" panose="020B0004020202020204" pitchFamily="34" charset="0"/>
                        </a:rPr>
                        <a:t>NON_CRTFD_AIFS.DL_TS_STAR.HIGH_RISK_NEWBORNS_MOTHER_OOT_TEST_SCORE_ITER4_V3_IHAN30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20346701"/>
                  </a:ext>
                </a:extLst>
              </a:tr>
            </a:tbl>
          </a:graphicData>
        </a:graphic>
      </p:graphicFrame>
    </p:spTree>
    <p:extLst>
      <p:ext uri="{BB962C8B-B14F-4D97-AF65-F5344CB8AC3E}">
        <p14:creationId xmlns:p14="http://schemas.microsoft.com/office/powerpoint/2010/main" val="40652241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A254E9-3639-6286-AA6C-0797D0469F99}"/>
              </a:ext>
            </a:extLst>
          </p:cNvPr>
          <p:cNvSpPr>
            <a:spLocks noGrp="1"/>
          </p:cNvSpPr>
          <p:nvPr>
            <p:ph type="title"/>
          </p:nvPr>
        </p:nvSpPr>
        <p:spPr/>
        <p:txBody>
          <a:bodyPr/>
          <a:lstStyle/>
          <a:p>
            <a:r>
              <a:rPr lang="en-US" dirty="0"/>
              <a:t>Iter4 _V1: Top 30 Risk Increasing Medical Codes (based on complete OOT data – IHAN201 model, count &gt;=5)</a:t>
            </a:r>
          </a:p>
        </p:txBody>
      </p:sp>
      <p:graphicFrame>
        <p:nvGraphicFramePr>
          <p:cNvPr id="6" name="Content Placeholder 5">
            <a:extLst>
              <a:ext uri="{FF2B5EF4-FFF2-40B4-BE49-F238E27FC236}">
                <a16:creationId xmlns:a16="http://schemas.microsoft.com/office/drawing/2014/main" id="{D5614CE4-CE4D-3B30-FA63-D44EA2EA8949}"/>
              </a:ext>
            </a:extLst>
          </p:cNvPr>
          <p:cNvGraphicFramePr>
            <a:graphicFrameLocks noGrp="1"/>
          </p:cNvGraphicFramePr>
          <p:nvPr>
            <p:ph idx="1"/>
            <p:extLst>
              <p:ext uri="{D42A27DB-BD31-4B8C-83A1-F6EECF244321}">
                <p14:modId xmlns:p14="http://schemas.microsoft.com/office/powerpoint/2010/main" val="3485398274"/>
              </p:ext>
            </p:extLst>
          </p:nvPr>
        </p:nvGraphicFramePr>
        <p:xfrm>
          <a:off x="1170878" y="1693866"/>
          <a:ext cx="9532904" cy="4811980"/>
        </p:xfrm>
        <a:graphic>
          <a:graphicData uri="http://schemas.openxmlformats.org/drawingml/2006/table">
            <a:tbl>
              <a:tblPr/>
              <a:tblGrid>
                <a:gridCol w="301859">
                  <a:extLst>
                    <a:ext uri="{9D8B030D-6E8A-4147-A177-3AD203B41FA5}">
                      <a16:colId xmlns:a16="http://schemas.microsoft.com/office/drawing/2014/main" val="1841316796"/>
                    </a:ext>
                  </a:extLst>
                </a:gridCol>
                <a:gridCol w="282384">
                  <a:extLst>
                    <a:ext uri="{9D8B030D-6E8A-4147-A177-3AD203B41FA5}">
                      <a16:colId xmlns:a16="http://schemas.microsoft.com/office/drawing/2014/main" val="4187119262"/>
                    </a:ext>
                  </a:extLst>
                </a:gridCol>
                <a:gridCol w="575484">
                  <a:extLst>
                    <a:ext uri="{9D8B030D-6E8A-4147-A177-3AD203B41FA5}">
                      <a16:colId xmlns:a16="http://schemas.microsoft.com/office/drawing/2014/main" val="1773766957"/>
                    </a:ext>
                  </a:extLst>
                </a:gridCol>
                <a:gridCol w="646771">
                  <a:extLst>
                    <a:ext uri="{9D8B030D-6E8A-4147-A177-3AD203B41FA5}">
                      <a16:colId xmlns:a16="http://schemas.microsoft.com/office/drawing/2014/main" val="1550519212"/>
                    </a:ext>
                  </a:extLst>
                </a:gridCol>
                <a:gridCol w="364938">
                  <a:extLst>
                    <a:ext uri="{9D8B030D-6E8A-4147-A177-3AD203B41FA5}">
                      <a16:colId xmlns:a16="http://schemas.microsoft.com/office/drawing/2014/main" val="2887062773"/>
                    </a:ext>
                  </a:extLst>
                </a:gridCol>
                <a:gridCol w="649823">
                  <a:extLst>
                    <a:ext uri="{9D8B030D-6E8A-4147-A177-3AD203B41FA5}">
                      <a16:colId xmlns:a16="http://schemas.microsoft.com/office/drawing/2014/main" val="1888024869"/>
                    </a:ext>
                  </a:extLst>
                </a:gridCol>
                <a:gridCol w="6711645">
                  <a:extLst>
                    <a:ext uri="{9D8B030D-6E8A-4147-A177-3AD203B41FA5}">
                      <a16:colId xmlns:a16="http://schemas.microsoft.com/office/drawing/2014/main" val="1344627738"/>
                    </a:ext>
                  </a:extLst>
                </a:gridCol>
              </a:tblGrid>
              <a:tr h="253720">
                <a:tc>
                  <a:txBody>
                    <a:bodyPr/>
                    <a:lstStyle/>
                    <a:p>
                      <a:pPr algn="l" fontAlgn="b"/>
                      <a:r>
                        <a:rPr lang="en-US" sz="900" b="0" i="0" u="none" strike="noStrike">
                          <a:solidFill>
                            <a:srgbClr val="000000"/>
                          </a:solidFill>
                          <a:effectLst/>
                          <a:latin typeface="Elevance Sans Medium" pitchFamily="50" charset="0"/>
                        </a:rPr>
                        <a:t>rank</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latin typeface="Elevance Sans Medium" pitchFamily="50" charset="0"/>
                        </a:rPr>
                        <a:t>type</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latin typeface="Elevance Sans Medium" pitchFamily="50" charset="0"/>
                        </a:rPr>
                        <a:t>codeIndex</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latin typeface="Elevance Sans Medium" pitchFamily="50" charset="0"/>
                        </a:rPr>
                        <a:t>contribCoef</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latin typeface="Elevance Sans Medium" pitchFamily="50" charset="0"/>
                        </a:rPr>
                        <a:t>count</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latin typeface="Elevance Sans Medium" pitchFamily="50" charset="0"/>
                        </a:rPr>
                        <a:t>CD_VALUE</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900" b="0" i="0" u="none" strike="noStrike">
                          <a:solidFill>
                            <a:srgbClr val="000000"/>
                          </a:solidFill>
                          <a:effectLst/>
                          <a:latin typeface="Elevance Sans Medium" pitchFamily="50" charset="0"/>
                        </a:rPr>
                        <a:t>DESCRIPTION</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957002716"/>
                  </a:ext>
                </a:extLst>
              </a:tr>
              <a:tr h="135317">
                <a:tc>
                  <a:txBody>
                    <a:bodyPr/>
                    <a:lstStyle/>
                    <a:p>
                      <a:pPr algn="r" fontAlgn="b"/>
                      <a:r>
                        <a:rPr lang="en-US" sz="900" b="0" i="0" u="none" strike="noStrike">
                          <a:solidFill>
                            <a:srgbClr val="000000"/>
                          </a:solidFill>
                          <a:effectLst/>
                          <a:latin typeface="Elevance Sans Medium" pitchFamily="50" charset="0"/>
                        </a:rPr>
                        <a:t>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3616</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58476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2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Q79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Congenital diaphragmatic hernia</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3863577"/>
                  </a:ext>
                </a:extLst>
              </a:tr>
              <a:tr h="135317">
                <a:tc>
                  <a:txBody>
                    <a:bodyPr/>
                    <a:lstStyle/>
                    <a:p>
                      <a:pPr algn="r" fontAlgn="b"/>
                      <a:r>
                        <a:rPr lang="en-US" sz="900" b="0" i="0" u="none" strike="noStrike">
                          <a:solidFill>
                            <a:srgbClr val="000000"/>
                          </a:solidFill>
                          <a:effectLst/>
                          <a:latin typeface="Elevance Sans Medium" pitchFamily="50" charset="0"/>
                        </a:rPr>
                        <a:t>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2222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823721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3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Z375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Triplets, all liveborn</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5379967"/>
                  </a:ext>
                </a:extLst>
              </a:tr>
              <a:tr h="135317">
                <a:tc>
                  <a:txBody>
                    <a:bodyPr/>
                    <a:lstStyle/>
                    <a:p>
                      <a:pPr algn="r" fontAlgn="b"/>
                      <a:r>
                        <a:rPr lang="en-US" sz="900" b="0" i="0" u="none" strike="noStrike">
                          <a:solidFill>
                            <a:srgbClr val="000000"/>
                          </a:solidFill>
                          <a:effectLst/>
                          <a:latin typeface="Elevance Sans Medium" pitchFamily="50" charset="0"/>
                        </a:rPr>
                        <a:t>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151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685275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36</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506X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Maternal care for (suspected) central nervous system malformation or damage in fetus, hydrocephaly, not applicable or unspecified</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91262702"/>
                  </a:ext>
                </a:extLst>
              </a:tr>
              <a:tr h="135317">
                <a:tc>
                  <a:txBody>
                    <a:bodyPr/>
                    <a:lstStyle/>
                    <a:p>
                      <a:pPr algn="r" fontAlgn="b"/>
                      <a:r>
                        <a:rPr lang="en-US" sz="900" b="0" i="0" u="none" strike="noStrike">
                          <a:solidFill>
                            <a:srgbClr val="000000"/>
                          </a:solidFill>
                          <a:effectLst/>
                          <a:latin typeface="Elevance Sans Medium" pitchFamily="50" charset="0"/>
                        </a:rPr>
                        <a:t>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238</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6354547</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39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6012X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reterm labor second trimester with preterm delivery second trimester, not applicable or unspecified</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28992725"/>
                  </a:ext>
                </a:extLst>
              </a:tr>
              <a:tr h="135317">
                <a:tc>
                  <a:txBody>
                    <a:bodyPr/>
                    <a:lstStyle/>
                    <a:p>
                      <a:pPr algn="r" fontAlgn="b"/>
                      <a:r>
                        <a:rPr lang="en-US" sz="900" b="0" i="0" u="none" strike="noStrike">
                          <a:solidFill>
                            <a:srgbClr val="000000"/>
                          </a:solidFill>
                          <a:effectLst/>
                          <a:latin typeface="Elevance Sans Medium" pitchFamily="50" charset="0"/>
                        </a:rPr>
                        <a:t>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2209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6233266</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77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Z280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Immunization not carried out because of other contraindication</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23588019"/>
                  </a:ext>
                </a:extLst>
              </a:tr>
              <a:tr h="135317">
                <a:tc>
                  <a:txBody>
                    <a:bodyPr/>
                    <a:lstStyle/>
                    <a:p>
                      <a:pPr algn="r" fontAlgn="b"/>
                      <a:r>
                        <a:rPr lang="en-US" sz="900" b="0" i="0" u="none" strike="noStrike">
                          <a:solidFill>
                            <a:srgbClr val="000000"/>
                          </a:solidFill>
                          <a:effectLst/>
                          <a:latin typeface="Elevance Sans Medium" pitchFamily="50" charset="0"/>
                        </a:rPr>
                        <a:t>6</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317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55011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2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Q20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scordant ventriculoarterial connection</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4457358"/>
                  </a:ext>
                </a:extLst>
              </a:tr>
              <a:tr h="135317">
                <a:tc>
                  <a:txBody>
                    <a:bodyPr/>
                    <a:lstStyle/>
                    <a:p>
                      <a:pPr algn="r" fontAlgn="b"/>
                      <a:r>
                        <a:rPr lang="en-US" sz="900" b="0" i="0" u="none" strike="noStrike">
                          <a:solidFill>
                            <a:srgbClr val="000000"/>
                          </a:solidFill>
                          <a:effectLst/>
                          <a:latin typeface="Elevance Sans Medium" pitchFamily="50" charset="0"/>
                        </a:rPr>
                        <a:t>7</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091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357477</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38</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142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HELLP syndrome (HELLP), second trimester</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26450990"/>
                  </a:ext>
                </a:extLst>
              </a:tr>
              <a:tr h="135317">
                <a:tc>
                  <a:txBody>
                    <a:bodyPr/>
                    <a:lstStyle/>
                    <a:p>
                      <a:pPr algn="r" fontAlgn="b"/>
                      <a:r>
                        <a:rPr lang="en-US" sz="900" b="0" i="0" u="none" strike="noStrike">
                          <a:solidFill>
                            <a:srgbClr val="000000"/>
                          </a:solidFill>
                          <a:effectLst/>
                          <a:latin typeface="Elevance Sans Medium" pitchFamily="50" charset="0"/>
                        </a:rPr>
                        <a:t>8</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09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230047</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4201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reterm premature rupture of membranes, onset of labor within 24 hours of rupture, second trimester</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29395620"/>
                  </a:ext>
                </a:extLst>
              </a:tr>
              <a:tr h="135317">
                <a:tc>
                  <a:txBody>
                    <a:bodyPr/>
                    <a:lstStyle/>
                    <a:p>
                      <a:pPr algn="r" fontAlgn="b"/>
                      <a:r>
                        <a:rPr lang="en-US" sz="900" b="0" i="0" u="none" strike="noStrike">
                          <a:solidFill>
                            <a:srgbClr val="000000"/>
                          </a:solidFill>
                          <a:effectLst/>
                          <a:latin typeface="Elevance Sans Medium" pitchFamily="50" charset="0"/>
                        </a:rPr>
                        <a:t>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1548</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503227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258</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513X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Maternal care for (suspected) chromosomal abnormality in fetus, Trisomy 21, not applicable or unspecified</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76675"/>
                  </a:ext>
                </a:extLst>
              </a:tr>
              <a:tr h="135317">
                <a:tc>
                  <a:txBody>
                    <a:bodyPr/>
                    <a:lstStyle/>
                    <a:p>
                      <a:pPr algn="r" fontAlgn="b"/>
                      <a:r>
                        <a:rPr lang="en-US" sz="900" b="0" i="0" u="none" strike="noStrike">
                          <a:solidFill>
                            <a:srgbClr val="000000"/>
                          </a:solidFill>
                          <a:effectLst/>
                          <a:latin typeface="Elevance Sans Medium" pitchFamily="50" charset="0"/>
                        </a:rPr>
                        <a:t>1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358</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436438</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4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694XX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Labor and delivery complicated by vasa previa, fetus 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9277943"/>
                  </a:ext>
                </a:extLst>
              </a:tr>
              <a:tr h="135317">
                <a:tc>
                  <a:txBody>
                    <a:bodyPr/>
                    <a:lstStyle/>
                    <a:p>
                      <a:pPr algn="r" fontAlgn="b"/>
                      <a:r>
                        <a:rPr lang="en-US" sz="900" b="0" i="0" u="none" strike="noStrike">
                          <a:solidFill>
                            <a:srgbClr val="000000"/>
                          </a:solidFill>
                          <a:effectLst/>
                          <a:latin typeface="Elevance Sans Medium" pitchFamily="50" charset="0"/>
                        </a:rPr>
                        <a:t>1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163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350827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16</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5FXX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Maternal care for other (suspected) fetal abnormality and damage, fetal musculoskeletal anomalies of trunk, not applicable or unspecified</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3905470"/>
                  </a:ext>
                </a:extLst>
              </a:tr>
              <a:tr h="135317">
                <a:tc>
                  <a:txBody>
                    <a:bodyPr/>
                    <a:lstStyle/>
                    <a:p>
                      <a:pPr algn="r" fontAlgn="b"/>
                      <a:r>
                        <a:rPr lang="en-US" sz="900" b="0" i="0" u="none" strike="noStrike">
                          <a:solidFill>
                            <a:srgbClr val="000000"/>
                          </a:solidFill>
                          <a:effectLst/>
                          <a:latin typeface="Elevance Sans Medium" pitchFamily="50" charset="0"/>
                        </a:rPr>
                        <a:t>1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097</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3407838</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20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4211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reterm premature rupture of membranes, onset of labor more than 24 hours following rupture, second trimester</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55688513"/>
                  </a:ext>
                </a:extLst>
              </a:tr>
              <a:tr h="135317">
                <a:tc>
                  <a:txBody>
                    <a:bodyPr/>
                    <a:lstStyle/>
                    <a:p>
                      <a:pPr algn="r" fontAlgn="b"/>
                      <a:r>
                        <a:rPr lang="en-US" sz="900" b="0" i="0" u="none" strike="noStrike">
                          <a:solidFill>
                            <a:srgbClr val="000000"/>
                          </a:solidFill>
                          <a:effectLst/>
                          <a:latin typeface="Elevance Sans Medium" pitchFamily="50" charset="0"/>
                        </a:rPr>
                        <a:t>1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22217</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338612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223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Z37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Twins, both liveborn</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45372605"/>
                  </a:ext>
                </a:extLst>
              </a:tr>
              <a:tr h="135317">
                <a:tc>
                  <a:txBody>
                    <a:bodyPr/>
                    <a:lstStyle/>
                    <a:p>
                      <a:pPr algn="r" fontAlgn="b"/>
                      <a:r>
                        <a:rPr lang="en-US" sz="900" b="0" i="0" u="none" strike="noStrike">
                          <a:solidFill>
                            <a:srgbClr val="000000"/>
                          </a:solidFill>
                          <a:effectLst/>
                          <a:latin typeface="Elevance Sans Medium" pitchFamily="50" charset="0"/>
                        </a:rPr>
                        <a:t>1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43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3265246</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8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75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hock during or following labor and delivery</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26767542"/>
                  </a:ext>
                </a:extLst>
              </a:tr>
              <a:tr h="135317">
                <a:tc>
                  <a:txBody>
                    <a:bodyPr/>
                    <a:lstStyle/>
                    <a:p>
                      <a:pPr algn="r" fontAlgn="b"/>
                      <a:r>
                        <a:rPr lang="en-US" sz="900" b="0" i="0" u="none" strike="noStrike">
                          <a:solidFill>
                            <a:srgbClr val="000000"/>
                          </a:solidFill>
                          <a:effectLst/>
                          <a:latin typeface="Elevance Sans Medium" pitchFamily="50" charset="0"/>
                        </a:rPr>
                        <a:t>16</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33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322804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32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690XX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Labor and delivery complicated by prolapse of cord, not applicable or unspecified</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67811833"/>
                  </a:ext>
                </a:extLst>
              </a:tr>
              <a:tr h="135317">
                <a:tc>
                  <a:txBody>
                    <a:bodyPr/>
                    <a:lstStyle/>
                    <a:p>
                      <a:pPr algn="r" fontAlgn="b"/>
                      <a:r>
                        <a:rPr lang="en-US" sz="900" b="0" i="0" u="none" strike="noStrike">
                          <a:solidFill>
                            <a:srgbClr val="000000"/>
                          </a:solidFill>
                          <a:effectLst/>
                          <a:latin typeface="Elevance Sans Medium" pitchFamily="50" charset="0"/>
                        </a:rPr>
                        <a:t>17</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198</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306435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9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459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remature separation of placenta, unspecified, second trimester</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06752083"/>
                  </a:ext>
                </a:extLst>
              </a:tr>
              <a:tr h="135317">
                <a:tc>
                  <a:txBody>
                    <a:bodyPr/>
                    <a:lstStyle/>
                    <a:p>
                      <a:pPr algn="r" fontAlgn="b"/>
                      <a:r>
                        <a:rPr lang="en-US" sz="900" b="0" i="0" u="none" strike="noStrike">
                          <a:solidFill>
                            <a:srgbClr val="000000"/>
                          </a:solidFill>
                          <a:effectLst/>
                          <a:latin typeface="Elevance Sans Medium" pitchFamily="50" charset="0"/>
                        </a:rPr>
                        <a:t>18</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194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303738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6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690X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Maternal care for fetal problem, unspecified, unspecified trimester, not applicable or unspecified</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51257942"/>
                  </a:ext>
                </a:extLst>
              </a:tr>
              <a:tr h="135317">
                <a:tc>
                  <a:txBody>
                    <a:bodyPr/>
                    <a:lstStyle/>
                    <a:p>
                      <a:pPr algn="r" fontAlgn="b"/>
                      <a:r>
                        <a:rPr lang="en-US" sz="900" b="0" i="0" u="none" strike="noStrike">
                          <a:solidFill>
                            <a:srgbClr val="000000"/>
                          </a:solidFill>
                          <a:effectLst/>
                          <a:latin typeface="Elevance Sans Medium" pitchFamily="50" charset="0"/>
                        </a:rPr>
                        <a:t>1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6527</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30314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08</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J81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Acute pulmonary edema</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50456606"/>
                  </a:ext>
                </a:extLst>
              </a:tr>
              <a:tr h="135317">
                <a:tc>
                  <a:txBody>
                    <a:bodyPr/>
                    <a:lstStyle/>
                    <a:p>
                      <a:pPr algn="r" fontAlgn="b"/>
                      <a:r>
                        <a:rPr lang="en-US" sz="900" b="0" i="0" u="none" strike="noStrike">
                          <a:solidFill>
                            <a:srgbClr val="000000"/>
                          </a:solidFill>
                          <a:effectLst/>
                          <a:latin typeface="Elevance Sans Medium" pitchFamily="50" charset="0"/>
                        </a:rPr>
                        <a:t>2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361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290926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8</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Q79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Gastroschisis</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16174588"/>
                  </a:ext>
                </a:extLst>
              </a:tr>
              <a:tr h="135317">
                <a:tc>
                  <a:txBody>
                    <a:bodyPr/>
                    <a:lstStyle/>
                    <a:p>
                      <a:pPr algn="r" fontAlgn="b"/>
                      <a:r>
                        <a:rPr lang="en-US" sz="900" b="0" i="0" u="none" strike="noStrike">
                          <a:solidFill>
                            <a:srgbClr val="000000"/>
                          </a:solidFill>
                          <a:effectLst/>
                          <a:latin typeface="Elevance Sans Medium" pitchFamily="50" charset="0"/>
                        </a:rPr>
                        <a:t>2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248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290480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2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E87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Mixed disorder of acid-base balance</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84891029"/>
                  </a:ext>
                </a:extLst>
              </a:tr>
              <a:tr h="135317">
                <a:tc>
                  <a:txBody>
                    <a:bodyPr/>
                    <a:lstStyle/>
                    <a:p>
                      <a:pPr algn="r" fontAlgn="b"/>
                      <a:r>
                        <a:rPr lang="en-US" sz="900" b="0" i="0" u="none" strike="noStrike">
                          <a:solidFill>
                            <a:srgbClr val="000000"/>
                          </a:solidFill>
                          <a:effectLst/>
                          <a:latin typeface="Elevance Sans Medium" pitchFamily="50" charset="0"/>
                        </a:rPr>
                        <a:t>2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92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287321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46</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28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Respiratory failure of newborn</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69723264"/>
                  </a:ext>
                </a:extLst>
              </a:tr>
              <a:tr h="135317">
                <a:tc>
                  <a:txBody>
                    <a:bodyPr/>
                    <a:lstStyle/>
                    <a:p>
                      <a:pPr algn="r" fontAlgn="b"/>
                      <a:r>
                        <a:rPr lang="en-US" sz="900" b="0" i="0" u="none" strike="noStrike">
                          <a:solidFill>
                            <a:srgbClr val="000000"/>
                          </a:solidFill>
                          <a:effectLst/>
                          <a:latin typeface="Elevance Sans Medium" pitchFamily="50" charset="0"/>
                        </a:rPr>
                        <a:t>2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0916</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267267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499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141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Severe pre-eclampsia complicating childbirth</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75532647"/>
                  </a:ext>
                </a:extLst>
              </a:tr>
              <a:tr h="135317">
                <a:tc>
                  <a:txBody>
                    <a:bodyPr/>
                    <a:lstStyle/>
                    <a:p>
                      <a:pPr algn="r" fontAlgn="b"/>
                      <a:r>
                        <a:rPr lang="en-US" sz="900" b="0" i="0" u="none" strike="noStrike">
                          <a:solidFill>
                            <a:srgbClr val="000000"/>
                          </a:solidFill>
                          <a:effectLst/>
                          <a:latin typeface="Elevance Sans Medium" pitchFamily="50" charset="0"/>
                        </a:rPr>
                        <a:t>2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24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247167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4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6012X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reterm labor second trimester with preterm delivery second trimester, fetus 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88609426"/>
                  </a:ext>
                </a:extLst>
              </a:tr>
              <a:tr h="135317">
                <a:tc>
                  <a:txBody>
                    <a:bodyPr/>
                    <a:lstStyle/>
                    <a:p>
                      <a:pPr algn="r" fontAlgn="b"/>
                      <a:r>
                        <a:rPr lang="en-US" sz="900" b="0" i="0" u="none" strike="noStrike">
                          <a:solidFill>
                            <a:srgbClr val="000000"/>
                          </a:solidFill>
                          <a:effectLst/>
                          <a:latin typeface="Elevance Sans Medium" pitchFamily="50" charset="0"/>
                        </a:rPr>
                        <a:t>2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1797</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219180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43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36593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Maternal care for other known or suspected poor fetal growth, third trimester, fetus 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93285620"/>
                  </a:ext>
                </a:extLst>
              </a:tr>
              <a:tr h="135317">
                <a:tc>
                  <a:txBody>
                    <a:bodyPr/>
                    <a:lstStyle/>
                    <a:p>
                      <a:pPr algn="r" fontAlgn="b"/>
                      <a:r>
                        <a:rPr lang="en-US" sz="900" b="0" i="0" u="none" strike="noStrike">
                          <a:solidFill>
                            <a:srgbClr val="000000"/>
                          </a:solidFill>
                          <a:effectLst/>
                          <a:latin typeface="Elevance Sans Medium" pitchFamily="50" charset="0"/>
                        </a:rPr>
                        <a:t>26</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377</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2162246</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28</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6982X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Labor and delivery complicated by other cord entanglement, without compression, fetus 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85409321"/>
                  </a:ext>
                </a:extLst>
              </a:tr>
              <a:tr h="135317">
                <a:tc>
                  <a:txBody>
                    <a:bodyPr/>
                    <a:lstStyle/>
                    <a:p>
                      <a:pPr algn="r" fontAlgn="b"/>
                      <a:r>
                        <a:rPr lang="en-US" sz="900" b="0" i="0" u="none" strike="noStrike">
                          <a:solidFill>
                            <a:srgbClr val="000000"/>
                          </a:solidFill>
                          <a:effectLst/>
                          <a:latin typeface="Elevance Sans Medium" pitchFamily="50" charset="0"/>
                        </a:rPr>
                        <a:t>28</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092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203900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43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142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HELLP syndrome, complicating childbirth</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96490868"/>
                  </a:ext>
                </a:extLst>
              </a:tr>
              <a:tr h="135317">
                <a:tc>
                  <a:txBody>
                    <a:bodyPr/>
                    <a:lstStyle/>
                    <a:p>
                      <a:pPr algn="r" fontAlgn="b"/>
                      <a:r>
                        <a:rPr lang="en-US" sz="900" b="0" i="0" u="none" strike="noStrike">
                          <a:solidFill>
                            <a:srgbClr val="000000"/>
                          </a:solidFill>
                          <a:effectLst/>
                          <a:latin typeface="Elevance Sans Medium" pitchFamily="50" charset="0"/>
                        </a:rPr>
                        <a:t>29</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09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198482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421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remature rupture of membranes, onset of labor more than 24 hours following rupture, unspecified weeks of gestation</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85135829"/>
                  </a:ext>
                </a:extLst>
              </a:tr>
              <a:tr h="135317">
                <a:tc>
                  <a:txBody>
                    <a:bodyPr/>
                    <a:lstStyle/>
                    <a:p>
                      <a:pPr algn="r" fontAlgn="b"/>
                      <a:r>
                        <a:rPr lang="en-US" sz="900" b="0" i="0" u="none" strike="noStrike">
                          <a:solidFill>
                            <a:srgbClr val="000000"/>
                          </a:solidFill>
                          <a:effectLst/>
                          <a:latin typeface="Elevance Sans Medium" pitchFamily="50" charset="0"/>
                        </a:rPr>
                        <a:t>3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333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197488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5</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Q41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Congenital absence, atresia and stenosis of duodenum</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84487289"/>
                  </a:ext>
                </a:extLst>
              </a:tr>
              <a:tr h="135317">
                <a:tc>
                  <a:txBody>
                    <a:bodyPr/>
                    <a:lstStyle/>
                    <a:p>
                      <a:pPr algn="r" fontAlgn="b"/>
                      <a:r>
                        <a:rPr lang="en-US" sz="900" b="0" i="0" u="none" strike="noStrike">
                          <a:solidFill>
                            <a:srgbClr val="000000"/>
                          </a:solidFill>
                          <a:effectLst/>
                          <a:latin typeface="Elevance Sans Medium" pitchFamily="50" charset="0"/>
                        </a:rPr>
                        <a:t>31</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098</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178439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830</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O42113</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Preterm premature rupture of membranes, onset of labor more than 24 hours following rupture, third trimester</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46973710"/>
                  </a:ext>
                </a:extLst>
              </a:tr>
              <a:tr h="135317">
                <a:tc>
                  <a:txBody>
                    <a:bodyPr/>
                    <a:lstStyle/>
                    <a:p>
                      <a:pPr algn="r" fontAlgn="b"/>
                      <a:r>
                        <a:rPr lang="en-US" sz="900" b="0" i="0" u="none" strike="noStrike">
                          <a:solidFill>
                            <a:srgbClr val="000000"/>
                          </a:solidFill>
                          <a:effectLst/>
                          <a:latin typeface="Elevance Sans Medium" pitchFamily="50" charset="0"/>
                        </a:rPr>
                        <a:t>3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diag</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2235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0.161060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900" b="0" i="0" u="none" strike="noStrike">
                          <a:solidFill>
                            <a:srgbClr val="000000"/>
                          </a:solidFill>
                          <a:effectLst/>
                          <a:latin typeface="Elevance Sans Medium" pitchFamily="50" charset="0"/>
                        </a:rPr>
                        <a:t>124</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a:solidFill>
                            <a:srgbClr val="000000"/>
                          </a:solidFill>
                          <a:effectLst/>
                          <a:latin typeface="Elevance Sans Medium" pitchFamily="50" charset="0"/>
                        </a:rPr>
                        <a:t>Z4682</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900" b="0" i="0" u="none" strike="noStrike" dirty="0">
                          <a:solidFill>
                            <a:srgbClr val="000000"/>
                          </a:solidFill>
                          <a:effectLst/>
                          <a:latin typeface="Elevance Sans Medium" pitchFamily="50" charset="0"/>
                        </a:rPr>
                        <a:t>Encounter for fitting and adjustment of non-vascular catheter</a:t>
                      </a:r>
                    </a:p>
                  </a:txBody>
                  <a:tcPr marL="5638" marR="5638" marT="56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18290689"/>
                  </a:ext>
                </a:extLst>
              </a:tr>
            </a:tbl>
          </a:graphicData>
        </a:graphic>
      </p:graphicFrame>
    </p:spTree>
    <p:extLst>
      <p:ext uri="{BB962C8B-B14F-4D97-AF65-F5344CB8AC3E}">
        <p14:creationId xmlns:p14="http://schemas.microsoft.com/office/powerpoint/2010/main" val="25547167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8D6D3B-9729-F11C-C395-426ED3BD4277}"/>
              </a:ext>
            </a:extLst>
          </p:cNvPr>
          <p:cNvSpPr>
            <a:spLocks noGrp="1"/>
          </p:cNvSpPr>
          <p:nvPr>
            <p:ph type="title"/>
          </p:nvPr>
        </p:nvSpPr>
        <p:spPr/>
        <p:txBody>
          <a:bodyPr/>
          <a:lstStyle/>
          <a:p>
            <a:r>
              <a:rPr lang="en-US" dirty="0"/>
              <a:t>Iter4 _V3: Top 30 Risk Increasing Medical Codes (based on complete OOT data – IHAN201 model, count &gt;=5)</a:t>
            </a:r>
          </a:p>
        </p:txBody>
      </p:sp>
      <p:graphicFrame>
        <p:nvGraphicFramePr>
          <p:cNvPr id="6" name="Content Placeholder 5">
            <a:extLst>
              <a:ext uri="{FF2B5EF4-FFF2-40B4-BE49-F238E27FC236}">
                <a16:creationId xmlns:a16="http://schemas.microsoft.com/office/drawing/2014/main" id="{195CAF2C-9F71-DE3E-1C53-B88F2D1C5927}"/>
              </a:ext>
            </a:extLst>
          </p:cNvPr>
          <p:cNvGraphicFramePr>
            <a:graphicFrameLocks noGrp="1"/>
          </p:cNvGraphicFramePr>
          <p:nvPr>
            <p:ph idx="1"/>
            <p:extLst>
              <p:ext uri="{D42A27DB-BD31-4B8C-83A1-F6EECF244321}">
                <p14:modId xmlns:p14="http://schemas.microsoft.com/office/powerpoint/2010/main" val="3384676662"/>
              </p:ext>
            </p:extLst>
          </p:nvPr>
        </p:nvGraphicFramePr>
        <p:xfrm>
          <a:off x="1438508" y="1693860"/>
          <a:ext cx="8721149" cy="4545143"/>
        </p:xfrm>
        <a:graphic>
          <a:graphicData uri="http://schemas.openxmlformats.org/drawingml/2006/table">
            <a:tbl>
              <a:tblPr/>
              <a:tblGrid>
                <a:gridCol w="270563">
                  <a:extLst>
                    <a:ext uri="{9D8B030D-6E8A-4147-A177-3AD203B41FA5}">
                      <a16:colId xmlns:a16="http://schemas.microsoft.com/office/drawing/2014/main" val="1998564789"/>
                    </a:ext>
                  </a:extLst>
                </a:gridCol>
                <a:gridCol w="279582">
                  <a:extLst>
                    <a:ext uri="{9D8B030D-6E8A-4147-A177-3AD203B41FA5}">
                      <a16:colId xmlns:a16="http://schemas.microsoft.com/office/drawing/2014/main" val="1189296861"/>
                    </a:ext>
                  </a:extLst>
                </a:gridCol>
                <a:gridCol w="550145">
                  <a:extLst>
                    <a:ext uri="{9D8B030D-6E8A-4147-A177-3AD203B41FA5}">
                      <a16:colId xmlns:a16="http://schemas.microsoft.com/office/drawing/2014/main" val="2342889622"/>
                    </a:ext>
                  </a:extLst>
                </a:gridCol>
                <a:gridCol w="586220">
                  <a:extLst>
                    <a:ext uri="{9D8B030D-6E8A-4147-A177-3AD203B41FA5}">
                      <a16:colId xmlns:a16="http://schemas.microsoft.com/office/drawing/2014/main" val="2887846425"/>
                    </a:ext>
                  </a:extLst>
                </a:gridCol>
                <a:gridCol w="288601">
                  <a:extLst>
                    <a:ext uri="{9D8B030D-6E8A-4147-A177-3AD203B41FA5}">
                      <a16:colId xmlns:a16="http://schemas.microsoft.com/office/drawing/2014/main" val="3960798440"/>
                    </a:ext>
                  </a:extLst>
                </a:gridCol>
                <a:gridCol w="541126">
                  <a:extLst>
                    <a:ext uri="{9D8B030D-6E8A-4147-A177-3AD203B41FA5}">
                      <a16:colId xmlns:a16="http://schemas.microsoft.com/office/drawing/2014/main" val="518021083"/>
                    </a:ext>
                  </a:extLst>
                </a:gridCol>
                <a:gridCol w="6204912">
                  <a:extLst>
                    <a:ext uri="{9D8B030D-6E8A-4147-A177-3AD203B41FA5}">
                      <a16:colId xmlns:a16="http://schemas.microsoft.com/office/drawing/2014/main" val="896193158"/>
                    </a:ext>
                  </a:extLst>
                </a:gridCol>
              </a:tblGrid>
              <a:tr h="120791">
                <a:tc>
                  <a:txBody>
                    <a:bodyPr/>
                    <a:lstStyle/>
                    <a:p>
                      <a:pPr algn="l" fontAlgn="b"/>
                      <a:r>
                        <a:rPr lang="en-US" sz="800" b="0" i="0" u="none" strike="noStrike">
                          <a:solidFill>
                            <a:srgbClr val="000000"/>
                          </a:solidFill>
                          <a:effectLst/>
                          <a:latin typeface="Elevance Sans Medium" pitchFamily="50" charset="0"/>
                        </a:rPr>
                        <a:t>rank</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Elevance Sans Medium" pitchFamily="50" charset="0"/>
                        </a:rPr>
                        <a:t>type</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Elevance Sans Medium" pitchFamily="50" charset="0"/>
                        </a:rPr>
                        <a:t>codeIndex</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Elevance Sans Medium" pitchFamily="50" charset="0"/>
                        </a:rPr>
                        <a:t>contribCoef</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Elevance Sans Medium" pitchFamily="50" charset="0"/>
                        </a:rPr>
                        <a:t>count</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Elevance Sans Medium" pitchFamily="50" charset="0"/>
                        </a:rPr>
                        <a:t>CD_VALUE</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Elevance Sans Medium" pitchFamily="50" charset="0"/>
                        </a:rPr>
                        <a:t>DESCRIPTION</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749962123"/>
                  </a:ext>
                </a:extLst>
              </a:tr>
              <a:tr h="120791">
                <a:tc>
                  <a:txBody>
                    <a:bodyPr/>
                    <a:lstStyle/>
                    <a:p>
                      <a:pPr algn="r" fontAlgn="b"/>
                      <a:r>
                        <a:rPr lang="en-US" sz="800" b="0" i="0" u="none" strike="noStrike">
                          <a:solidFill>
                            <a:srgbClr val="000000"/>
                          </a:solidFill>
                          <a:effectLst/>
                          <a:latin typeface="Elevance Sans Medium" pitchFamily="50" charset="0"/>
                        </a:rPr>
                        <a:t>1</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0791</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8533018</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27</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013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Triplet pregnancy, trichorionic/triamniotic, second trimester</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7391381"/>
                  </a:ext>
                </a:extLst>
              </a:tr>
              <a:tr h="120791">
                <a:tc>
                  <a:txBody>
                    <a:bodyPr/>
                    <a:lstStyle/>
                    <a:p>
                      <a:pPr algn="r" fontAlgn="b"/>
                      <a:r>
                        <a:rPr lang="en-US" sz="800" b="0" i="0" u="none" strike="noStrike">
                          <a:solidFill>
                            <a:srgbClr val="000000"/>
                          </a:solidFill>
                          <a:effectLst/>
                          <a:latin typeface="Elevance Sans Medium" pitchFamily="50" charset="0"/>
                        </a:rPr>
                        <a:t>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2866</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2237799</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25</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Q790</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Congenital diaphragmatic hernia</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18319089"/>
                  </a:ext>
                </a:extLst>
              </a:tr>
              <a:tr h="120791">
                <a:tc>
                  <a:txBody>
                    <a:bodyPr/>
                    <a:lstStyle/>
                    <a:p>
                      <a:pPr algn="r" fontAlgn="b"/>
                      <a:r>
                        <a:rPr lang="en-US" sz="800" b="0" i="0" u="none" strike="noStrike">
                          <a:solidFill>
                            <a:srgbClr val="000000"/>
                          </a:solidFill>
                          <a:effectLst/>
                          <a:latin typeface="Elevance Sans Medium" pitchFamily="50" charset="0"/>
                        </a:rPr>
                        <a:t>3</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049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2031149</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293</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1413</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Severe pre-eclampsia, third trimester</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0228582"/>
                  </a:ext>
                </a:extLst>
              </a:tr>
              <a:tr h="120791">
                <a:tc>
                  <a:txBody>
                    <a:bodyPr/>
                    <a:lstStyle/>
                    <a:p>
                      <a:pPr algn="r" fontAlgn="b"/>
                      <a:r>
                        <a:rPr lang="en-US" sz="800" b="0" i="0" u="none" strike="noStrike">
                          <a:solidFill>
                            <a:srgbClr val="000000"/>
                          </a:solidFill>
                          <a:effectLst/>
                          <a:latin typeface="Elevance Sans Medium" pitchFamily="50" charset="0"/>
                        </a:rPr>
                        <a:t>4</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1591</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9903184</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47</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42919</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reterm premature rupture of membranes, unspecified as to length of time between rupture and onset of labor, unspecified trimester</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06289558"/>
                  </a:ext>
                </a:extLst>
              </a:tr>
              <a:tr h="120791">
                <a:tc>
                  <a:txBody>
                    <a:bodyPr/>
                    <a:lstStyle/>
                    <a:p>
                      <a:pPr algn="r" fontAlgn="b"/>
                      <a:r>
                        <a:rPr lang="en-US" sz="800" b="0" i="0" u="none" strike="noStrike">
                          <a:solidFill>
                            <a:srgbClr val="000000"/>
                          </a:solidFill>
                          <a:effectLst/>
                          <a:latin typeface="Elevance Sans Medium" pitchFamily="50" charset="0"/>
                        </a:rPr>
                        <a:t>5</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1055</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7855467</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69</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508X0</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Maternal care for (suspected) central nervous system malformation or damage in fetus, spina bifida, not applicable or unspecified</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70692150"/>
                  </a:ext>
                </a:extLst>
              </a:tr>
              <a:tr h="120791">
                <a:tc>
                  <a:txBody>
                    <a:bodyPr/>
                    <a:lstStyle/>
                    <a:p>
                      <a:pPr algn="r" fontAlgn="b"/>
                      <a:r>
                        <a:rPr lang="en-US" sz="800" b="0" i="0" u="none" strike="noStrike">
                          <a:solidFill>
                            <a:srgbClr val="000000"/>
                          </a:solidFill>
                          <a:effectLst/>
                          <a:latin typeface="Elevance Sans Medium" pitchFamily="50" charset="0"/>
                        </a:rPr>
                        <a:t>6</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1803</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7437697</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27</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694XX1</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Labor and delivery complicated by vasa previa, fetus 1</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31369055"/>
                  </a:ext>
                </a:extLst>
              </a:tr>
              <a:tr h="120791">
                <a:tc>
                  <a:txBody>
                    <a:bodyPr/>
                    <a:lstStyle/>
                    <a:p>
                      <a:pPr algn="r" fontAlgn="b"/>
                      <a:r>
                        <a:rPr lang="en-US" sz="800" b="0" i="0" u="none" strike="noStrike">
                          <a:solidFill>
                            <a:srgbClr val="000000"/>
                          </a:solidFill>
                          <a:effectLst/>
                          <a:latin typeface="Elevance Sans Medium" pitchFamily="50" charset="0"/>
                        </a:rPr>
                        <a:t>7</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0758</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6719767</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57</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001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Twin pregnancy, monochorionic/monoamniotic, second trimester</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46975426"/>
                  </a:ext>
                </a:extLst>
              </a:tr>
              <a:tr h="120791">
                <a:tc>
                  <a:txBody>
                    <a:bodyPr/>
                    <a:lstStyle/>
                    <a:p>
                      <a:pPr algn="r" fontAlgn="b"/>
                      <a:r>
                        <a:rPr lang="en-US" sz="800" b="0" i="0" u="none" strike="noStrike">
                          <a:solidFill>
                            <a:srgbClr val="000000"/>
                          </a:solidFill>
                          <a:effectLst/>
                          <a:latin typeface="Elevance Sans Medium" pitchFamily="50" charset="0"/>
                        </a:rPr>
                        <a:t>8</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1618</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6189085</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69</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4321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lacenta accreta, second trimester</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94446906"/>
                  </a:ext>
                </a:extLst>
              </a:tr>
              <a:tr h="120791">
                <a:tc>
                  <a:txBody>
                    <a:bodyPr/>
                    <a:lstStyle/>
                    <a:p>
                      <a:pPr algn="r" fontAlgn="b"/>
                      <a:r>
                        <a:rPr lang="en-US" sz="800" b="0" i="0" u="none" strike="noStrike">
                          <a:solidFill>
                            <a:srgbClr val="000000"/>
                          </a:solidFill>
                          <a:effectLst/>
                          <a:latin typeface="Elevance Sans Medium" pitchFamily="50" charset="0"/>
                        </a:rPr>
                        <a:t>9</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0767</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6090043</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486</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003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Twin pregnancy, monochorionic/diamniotic, second trimester</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57278410"/>
                  </a:ext>
                </a:extLst>
              </a:tr>
              <a:tr h="120791">
                <a:tc>
                  <a:txBody>
                    <a:bodyPr/>
                    <a:lstStyle/>
                    <a:p>
                      <a:pPr algn="r" fontAlgn="b"/>
                      <a:r>
                        <a:rPr lang="en-US" sz="800" b="0" i="0" u="none" strike="noStrike">
                          <a:solidFill>
                            <a:srgbClr val="000000"/>
                          </a:solidFill>
                          <a:effectLst/>
                          <a:latin typeface="Elevance Sans Medium" pitchFamily="50" charset="0"/>
                        </a:rPr>
                        <a:t>10</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0491</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559899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58</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141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Severe pre-eclampsia, second trimester</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46152202"/>
                  </a:ext>
                </a:extLst>
              </a:tr>
              <a:tr h="120791">
                <a:tc>
                  <a:txBody>
                    <a:bodyPr/>
                    <a:lstStyle/>
                    <a:p>
                      <a:pPr algn="r" fontAlgn="b"/>
                      <a:r>
                        <a:rPr lang="en-US" sz="800" b="0" i="0" u="none" strike="noStrike">
                          <a:solidFill>
                            <a:srgbClr val="000000"/>
                          </a:solidFill>
                          <a:effectLst/>
                          <a:latin typeface="Elevance Sans Medium" pitchFamily="50" charset="0"/>
                        </a:rPr>
                        <a:t>11</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1584</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5312748</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80</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42113</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reterm premature rupture of membranes, onset of labor more than 24 hours following rupture, third trimester</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4638495"/>
                  </a:ext>
                </a:extLst>
              </a:tr>
              <a:tr h="120791">
                <a:tc>
                  <a:txBody>
                    <a:bodyPr/>
                    <a:lstStyle/>
                    <a:p>
                      <a:pPr algn="r" fontAlgn="b"/>
                      <a:r>
                        <a:rPr lang="en-US" sz="800" b="0" i="0" u="none" strike="noStrike">
                          <a:solidFill>
                            <a:srgbClr val="000000"/>
                          </a:solidFill>
                          <a:effectLst/>
                          <a:latin typeface="Elevance Sans Medium" pitchFamily="50" charset="0"/>
                        </a:rPr>
                        <a:t>1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2869</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4778199</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8</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Q793</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Gastroschisis</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96115555"/>
                  </a:ext>
                </a:extLst>
              </a:tr>
              <a:tr h="120791">
                <a:tc>
                  <a:txBody>
                    <a:bodyPr/>
                    <a:lstStyle/>
                    <a:p>
                      <a:pPr algn="r" fontAlgn="b"/>
                      <a:r>
                        <a:rPr lang="en-US" sz="800" b="0" i="0" u="none" strike="noStrike">
                          <a:solidFill>
                            <a:srgbClr val="000000"/>
                          </a:solidFill>
                          <a:effectLst/>
                          <a:latin typeface="Elevance Sans Medium" pitchFamily="50" charset="0"/>
                        </a:rPr>
                        <a:t>13</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1589</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4238489</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38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4291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reterm premature rupture of membranes, unspecified as to length of time between rupture and onset of labor, second trimester</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09707197"/>
                  </a:ext>
                </a:extLst>
              </a:tr>
              <a:tr h="226483">
                <a:tc>
                  <a:txBody>
                    <a:bodyPr/>
                    <a:lstStyle/>
                    <a:p>
                      <a:pPr algn="r" fontAlgn="b"/>
                      <a:r>
                        <a:rPr lang="en-US" sz="800" b="0" i="0" u="none" strike="noStrike">
                          <a:solidFill>
                            <a:srgbClr val="000000"/>
                          </a:solidFill>
                          <a:effectLst/>
                          <a:latin typeface="Elevance Sans Medium" pitchFamily="50" charset="0"/>
                        </a:rPr>
                        <a:t>14</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1170</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3914667</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96</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5FXX0</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Maternal care for other (suspected) fetal abnormality and damage, fetal musculoskeletal anomalies of trunk, not applicable or unspecified</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03154522"/>
                  </a:ext>
                </a:extLst>
              </a:tr>
              <a:tr h="120791">
                <a:tc>
                  <a:txBody>
                    <a:bodyPr/>
                    <a:lstStyle/>
                    <a:p>
                      <a:pPr algn="r" fontAlgn="b"/>
                      <a:r>
                        <a:rPr lang="en-US" sz="800" b="0" i="0" u="none" strike="noStrike">
                          <a:solidFill>
                            <a:srgbClr val="000000"/>
                          </a:solidFill>
                          <a:effectLst/>
                          <a:latin typeface="Elevance Sans Medium" pitchFamily="50" charset="0"/>
                        </a:rPr>
                        <a:t>15</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1380</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352325</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44</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6813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ecreased fetal movements, third trimester, fetus 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12372577"/>
                  </a:ext>
                </a:extLst>
              </a:tr>
              <a:tr h="120791">
                <a:tc>
                  <a:txBody>
                    <a:bodyPr/>
                    <a:lstStyle/>
                    <a:p>
                      <a:pPr algn="r" fontAlgn="b"/>
                      <a:r>
                        <a:rPr lang="en-US" sz="800" b="0" i="0" u="none" strike="noStrike">
                          <a:solidFill>
                            <a:srgbClr val="000000"/>
                          </a:solidFill>
                          <a:effectLst/>
                          <a:latin typeface="Elevance Sans Medium" pitchFamily="50" charset="0"/>
                        </a:rPr>
                        <a:t>16</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2493</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2616297</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4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Q213</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Tetralogy of Fallot</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01325880"/>
                  </a:ext>
                </a:extLst>
              </a:tr>
              <a:tr h="120791">
                <a:tc>
                  <a:txBody>
                    <a:bodyPr/>
                    <a:lstStyle/>
                    <a:p>
                      <a:pPr algn="r" fontAlgn="b"/>
                      <a:r>
                        <a:rPr lang="en-US" sz="800" b="0" i="0" u="none" strike="noStrike">
                          <a:solidFill>
                            <a:srgbClr val="000000"/>
                          </a:solidFill>
                          <a:effectLst/>
                          <a:latin typeface="Elevance Sans Medium" pitchFamily="50" charset="0"/>
                        </a:rPr>
                        <a:t>17</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0771</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2451133</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591</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004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Twin pregnancy, dichorionic/diamniotic, second trimester</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45740111"/>
                  </a:ext>
                </a:extLst>
              </a:tr>
              <a:tr h="120791">
                <a:tc>
                  <a:txBody>
                    <a:bodyPr/>
                    <a:lstStyle/>
                    <a:p>
                      <a:pPr algn="r" fontAlgn="b"/>
                      <a:r>
                        <a:rPr lang="en-US" sz="800" b="0" i="0" u="none" strike="noStrike">
                          <a:solidFill>
                            <a:srgbClr val="000000"/>
                          </a:solidFill>
                          <a:effectLst/>
                          <a:latin typeface="Elevance Sans Medium" pitchFamily="50" charset="0"/>
                        </a:rPr>
                        <a:t>18</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1060</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2337551</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371</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509X0</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Maternal care for (suspected) other central nervous system malformation or damage in fetus, not applicable or unspecified</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64781989"/>
                  </a:ext>
                </a:extLst>
              </a:tr>
              <a:tr h="120791">
                <a:tc>
                  <a:txBody>
                    <a:bodyPr/>
                    <a:lstStyle/>
                    <a:p>
                      <a:pPr algn="r" fontAlgn="b"/>
                      <a:r>
                        <a:rPr lang="en-US" sz="800" b="0" i="0" u="none" strike="noStrike">
                          <a:solidFill>
                            <a:srgbClr val="000000"/>
                          </a:solidFill>
                          <a:effectLst/>
                          <a:latin typeface="Elevance Sans Medium" pitchFamily="50" charset="0"/>
                        </a:rPr>
                        <a:t>19</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077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2112863</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504</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0043</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Twin pregnancy, dichorionic/diamniotic, third trimester</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91145640"/>
                  </a:ext>
                </a:extLst>
              </a:tr>
              <a:tr h="352306">
                <a:tc>
                  <a:txBody>
                    <a:bodyPr/>
                    <a:lstStyle/>
                    <a:p>
                      <a:pPr algn="r" fontAlgn="b"/>
                      <a:r>
                        <a:rPr lang="en-US" sz="800" b="0" i="0" u="none" strike="noStrike">
                          <a:solidFill>
                            <a:srgbClr val="000000"/>
                          </a:solidFill>
                          <a:effectLst/>
                          <a:latin typeface="Elevance Sans Medium" pitchFamily="50" charset="0"/>
                        </a:rPr>
                        <a:t>20</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roc</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5704</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1820427</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114</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99417</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rolonged outpatient evaluation and management service(s) time with or without direct patient contact beyond the required time of the primary service when the primary service level has been selected using total time, each 15 minutes of total time (List separately in addition to the code of the outpatient Evaluation and Management service)</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94555509"/>
                  </a:ext>
                </a:extLst>
              </a:tr>
              <a:tr h="120791">
                <a:tc>
                  <a:txBody>
                    <a:bodyPr/>
                    <a:lstStyle/>
                    <a:p>
                      <a:pPr algn="r" fontAlgn="b"/>
                      <a:r>
                        <a:rPr lang="en-US" sz="800" b="0" i="0" u="none" strike="noStrike">
                          <a:solidFill>
                            <a:srgbClr val="000000"/>
                          </a:solidFill>
                          <a:effectLst/>
                          <a:latin typeface="Elevance Sans Medium" pitchFamily="50" charset="0"/>
                        </a:rPr>
                        <a:t>21</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1159</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1808328</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366</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5DXX0</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Maternal care for other (suspected) fetal abnormality and damage, fetal gastrointestinal anomalies, not applicable or unspecified</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10149443"/>
                  </a:ext>
                </a:extLst>
              </a:tr>
              <a:tr h="120791">
                <a:tc>
                  <a:txBody>
                    <a:bodyPr/>
                    <a:lstStyle/>
                    <a:p>
                      <a:pPr algn="r" fontAlgn="b"/>
                      <a:r>
                        <a:rPr lang="en-US" sz="800" b="0" i="0" u="none" strike="noStrike">
                          <a:solidFill>
                            <a:srgbClr val="000000"/>
                          </a:solidFill>
                          <a:effectLst/>
                          <a:latin typeface="Elevance Sans Medium" pitchFamily="50" charset="0"/>
                        </a:rPr>
                        <a:t>2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0595</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1794553</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555</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24013</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re-existing type 1 diabetes mellitus, in pregnancy, third trimester</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30059449"/>
                  </a:ext>
                </a:extLst>
              </a:tr>
              <a:tr h="120791">
                <a:tc>
                  <a:txBody>
                    <a:bodyPr/>
                    <a:lstStyle/>
                    <a:p>
                      <a:pPr algn="r" fontAlgn="b"/>
                      <a:r>
                        <a:rPr lang="en-US" sz="800" b="0" i="0" u="none" strike="noStrike">
                          <a:solidFill>
                            <a:srgbClr val="000000"/>
                          </a:solidFill>
                          <a:effectLst/>
                          <a:latin typeface="Elevance Sans Medium" pitchFamily="50" charset="0"/>
                        </a:rPr>
                        <a:t>24</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1590</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160627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773</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42913</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reterm premature rupture of membranes, unspecified as to length of time between rupture and onset of labor, third trimester</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93020106"/>
                  </a:ext>
                </a:extLst>
              </a:tr>
              <a:tr h="120791">
                <a:tc>
                  <a:txBody>
                    <a:bodyPr/>
                    <a:lstStyle/>
                    <a:p>
                      <a:pPr algn="r" fontAlgn="b"/>
                      <a:r>
                        <a:rPr lang="en-US" sz="800" b="0" i="0" u="none" strike="noStrike">
                          <a:solidFill>
                            <a:srgbClr val="000000"/>
                          </a:solidFill>
                          <a:effectLst/>
                          <a:latin typeface="Elevance Sans Medium" pitchFamily="50" charset="0"/>
                        </a:rPr>
                        <a:t>25</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1646</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157763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268</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441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Complete placenta previa with hemorrhage, second trimester</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43449118"/>
                  </a:ext>
                </a:extLst>
              </a:tr>
              <a:tr h="120791">
                <a:tc>
                  <a:txBody>
                    <a:bodyPr/>
                    <a:lstStyle/>
                    <a:p>
                      <a:pPr algn="r" fontAlgn="b"/>
                      <a:r>
                        <a:rPr lang="en-US" sz="800" b="0" i="0" u="none" strike="noStrike">
                          <a:solidFill>
                            <a:srgbClr val="000000"/>
                          </a:solidFill>
                          <a:effectLst/>
                          <a:latin typeface="Elevance Sans Medium" pitchFamily="50" charset="0"/>
                        </a:rPr>
                        <a:t>26</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1150</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153145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3150</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35BXX0</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Maternal care for other (suspected) fetal abnormality and damage, fetal cardiac anomalies, not applicable or unspecified</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4182313"/>
                  </a:ext>
                </a:extLst>
              </a:tr>
              <a:tr h="120791">
                <a:tc>
                  <a:txBody>
                    <a:bodyPr/>
                    <a:lstStyle/>
                    <a:p>
                      <a:pPr algn="r" fontAlgn="b"/>
                      <a:r>
                        <a:rPr lang="en-US" sz="800" b="0" i="0" u="none" strike="noStrike">
                          <a:solidFill>
                            <a:srgbClr val="000000"/>
                          </a:solidFill>
                          <a:effectLst/>
                          <a:latin typeface="Elevance Sans Medium" pitchFamily="50" charset="0"/>
                        </a:rPr>
                        <a:t>27</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0457</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1517006</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324</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113</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re-existing hypertension with pre-eclampsia, third trimester</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09497364"/>
                  </a:ext>
                </a:extLst>
              </a:tr>
              <a:tr h="120791">
                <a:tc>
                  <a:txBody>
                    <a:bodyPr/>
                    <a:lstStyle/>
                    <a:p>
                      <a:pPr algn="r" fontAlgn="b"/>
                      <a:r>
                        <a:rPr lang="en-US" sz="800" b="0" i="0" u="none" strike="noStrike">
                          <a:solidFill>
                            <a:srgbClr val="000000"/>
                          </a:solidFill>
                          <a:effectLst/>
                          <a:latin typeface="Elevance Sans Medium" pitchFamily="50" charset="0"/>
                        </a:rPr>
                        <a:t>28</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0450</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145294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2008</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1091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Unspecified pre-existing hypertension complicating pregnancy, second trimester</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05887299"/>
                  </a:ext>
                </a:extLst>
              </a:tr>
              <a:tr h="120791">
                <a:tc>
                  <a:txBody>
                    <a:bodyPr/>
                    <a:lstStyle/>
                    <a:p>
                      <a:pPr algn="r" fontAlgn="b"/>
                      <a:r>
                        <a:rPr lang="en-US" sz="800" b="0" i="0" u="none" strike="noStrike">
                          <a:solidFill>
                            <a:srgbClr val="000000"/>
                          </a:solidFill>
                          <a:effectLst/>
                          <a:latin typeface="Elevance Sans Medium" pitchFamily="50" charset="0"/>
                        </a:rPr>
                        <a:t>29</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050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1435227</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131</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1493</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Unspecified pre-eclampsia, third trimester</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7462863"/>
                  </a:ext>
                </a:extLst>
              </a:tr>
              <a:tr h="120791">
                <a:tc>
                  <a:txBody>
                    <a:bodyPr/>
                    <a:lstStyle/>
                    <a:p>
                      <a:pPr algn="r" fontAlgn="b"/>
                      <a:r>
                        <a:rPr lang="en-US" sz="800" b="0" i="0" u="none" strike="noStrike">
                          <a:solidFill>
                            <a:srgbClr val="000000"/>
                          </a:solidFill>
                          <a:effectLst/>
                          <a:latin typeface="Elevance Sans Medium" pitchFamily="50" charset="0"/>
                        </a:rPr>
                        <a:t>30</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diag</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11479</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132543</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69</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O402XX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olyhydramnios, second trimester, fetus 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79549370"/>
                  </a:ext>
                </a:extLst>
              </a:tr>
              <a:tr h="352306">
                <a:tc>
                  <a:txBody>
                    <a:bodyPr/>
                    <a:lstStyle/>
                    <a:p>
                      <a:pPr algn="r" fontAlgn="b"/>
                      <a:r>
                        <a:rPr lang="en-US" sz="800" b="0" i="0" u="none" strike="noStrike">
                          <a:solidFill>
                            <a:srgbClr val="000000"/>
                          </a:solidFill>
                          <a:effectLst/>
                          <a:latin typeface="Elevance Sans Medium" pitchFamily="50" charset="0"/>
                        </a:rPr>
                        <a:t>31</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a:solidFill>
                            <a:srgbClr val="000000"/>
                          </a:solidFill>
                          <a:effectLst/>
                          <a:latin typeface="Elevance Sans Medium" pitchFamily="50" charset="0"/>
                        </a:rPr>
                        <a:t>proc</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5616</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0.120806</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2714</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800" b="0" i="0" u="none" strike="noStrike">
                          <a:solidFill>
                            <a:srgbClr val="000000"/>
                          </a:solidFill>
                          <a:effectLst/>
                          <a:latin typeface="Elevance Sans Medium" pitchFamily="50" charset="0"/>
                        </a:rPr>
                        <a:t>99232</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800" b="0" i="0" u="none" strike="noStrike" dirty="0">
                          <a:solidFill>
                            <a:srgbClr val="000000"/>
                          </a:solidFill>
                          <a:effectLst/>
                          <a:latin typeface="Elevance Sans Medium" pitchFamily="50" charset="0"/>
                        </a:rPr>
                        <a:t>Subsequent hospital inpatient or observation care, per day, for the evaluation and management of a patient, which requires a medically appropriate history and/or examination and moderate level of medical decision making. When using total time on the date of the encounter for code selection, 35 minutes must be met or exceeded.</a:t>
                      </a:r>
                    </a:p>
                  </a:txBody>
                  <a:tcPr marL="5033" marR="5033" marT="50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94660568"/>
                  </a:ext>
                </a:extLst>
              </a:tr>
            </a:tbl>
          </a:graphicData>
        </a:graphic>
      </p:graphicFrame>
    </p:spTree>
    <p:extLst>
      <p:ext uri="{BB962C8B-B14F-4D97-AF65-F5344CB8AC3E}">
        <p14:creationId xmlns:p14="http://schemas.microsoft.com/office/powerpoint/2010/main" val="2980161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relon">
  <a:themeElements>
    <a:clrScheme name="Carelon">
      <a:dk1>
        <a:srgbClr val="5009B5"/>
      </a:dk1>
      <a:lt1>
        <a:srgbClr val="FFFFFF"/>
      </a:lt1>
      <a:dk2>
        <a:srgbClr val="231E33"/>
      </a:dk2>
      <a:lt2>
        <a:srgbClr val="E1EDFF"/>
      </a:lt2>
      <a:accent1>
        <a:srgbClr val="5009B5"/>
      </a:accent1>
      <a:accent2>
        <a:srgbClr val="794CFF"/>
      </a:accent2>
      <a:accent3>
        <a:srgbClr val="2B1B49"/>
      </a:accent3>
      <a:accent4>
        <a:srgbClr val="F5F5F5"/>
      </a:accent4>
      <a:accent5>
        <a:srgbClr val="00BBBA"/>
      </a:accent5>
      <a:accent6>
        <a:srgbClr val="44B8F3"/>
      </a:accent6>
      <a:hlink>
        <a:srgbClr val="0F61FE"/>
      </a:hlink>
      <a:folHlink>
        <a:srgbClr val="7030A0"/>
      </a:folHlink>
    </a:clrScheme>
    <a:fontScheme name="Elevance">
      <a:majorFont>
        <a:latin typeface="Elevance Sans Medium"/>
        <a:ea typeface=""/>
        <a:cs typeface=""/>
      </a:majorFont>
      <a:minorFont>
        <a:latin typeface="Elevan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231E3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smtClean="0">
            <a:solidFill>
              <a:schemeClr val="tx2"/>
            </a:solidFill>
          </a:defRPr>
        </a:defPPr>
      </a:lstStyle>
    </a:txDef>
  </a:objectDefaults>
  <a:extraClrSchemeLst/>
  <a:custClrLst>
    <a:custClr name="Purple">
      <a:srgbClr val="5009B5"/>
    </a:custClr>
    <a:custClr name="Light Purple">
      <a:srgbClr val="794CFF"/>
    </a:custClr>
    <a:custClr name="Pale Purple">
      <a:srgbClr val="EBE4FF"/>
    </a:custClr>
    <a:custClr name="Turquoise">
      <a:srgbClr val="00BBBA"/>
    </a:custClr>
    <a:custClr name="Pale Turquoise">
      <a:srgbClr val="D9F5F5"/>
    </a:custClr>
    <a:custClr name="Cyan">
      <a:srgbClr val="44B8F3"/>
    </a:custClr>
    <a:custClr name="Pale Cyan">
      <a:srgbClr val="E1EDFF"/>
    </a:custClr>
    <a:custClr name="Dark Gray">
      <a:srgbClr val="231E33"/>
    </a:custClr>
    <a:custClr name="Pale Gray">
      <a:srgbClr val="F5F5F5"/>
    </a:custClr>
  </a:custClrLst>
  <a:extLst>
    <a:ext uri="{05A4C25C-085E-4340-85A3-A5531E510DB2}">
      <thm15:themeFamily xmlns:thm15="http://schemas.microsoft.com/office/thememl/2012/main" name="Presentation1" id="{96F36FE3-BE77-6B49-A28C-EBAB79D62A72}" vid="{CB23E6C2-2C9F-0340-8DDC-7FE0424000E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Elevance Sans"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7209AA1A61D7B408C081C69C51E2085" ma:contentTypeVersion="3" ma:contentTypeDescription="Create a new document." ma:contentTypeScope="" ma:versionID="bc4c9b19d9411df4d1a389b1cfc745d5">
  <xsd:schema xmlns:xsd="http://www.w3.org/2001/XMLSchema" xmlns:xs="http://www.w3.org/2001/XMLSchema" xmlns:p="http://schemas.microsoft.com/office/2006/metadata/properties" xmlns:ns2="cbf536b3-8232-4782-9373-d2bddd2adf02" targetNamespace="http://schemas.microsoft.com/office/2006/metadata/properties" ma:root="true" ma:fieldsID="f4733d3a710627b16621a679d5a7d0a2" ns2:_="">
    <xsd:import namespace="cbf536b3-8232-4782-9373-d2bddd2adf02"/>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f536b3-8232-4782-9373-d2bddd2adf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7C0A076-1BB0-4104-8BB5-0ECF7CDB5E02}">
  <ds:schemaRefs>
    <ds:schemaRef ds:uri="http://purl.org/dc/dcmitype/"/>
    <ds:schemaRef ds:uri="http://purl.org/dc/elements/1.1/"/>
    <ds:schemaRef ds:uri="http://schemas.microsoft.com/office/infopath/2007/PartnerControls"/>
    <ds:schemaRef ds:uri="http://www.w3.org/XML/1998/namespace"/>
    <ds:schemaRef ds:uri="cbf536b3-8232-4782-9373-d2bddd2adf02"/>
    <ds:schemaRef ds:uri="http://schemas.microsoft.com/office/2006/documentManagement/types"/>
    <ds:schemaRef ds:uri="http://schemas.openxmlformats.org/package/2006/metadata/core-properties"/>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EAD2D5A0-5364-410B-B3C1-FCD72FB611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f536b3-8232-4782-9373-d2bddd2adf0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A879919-1E6C-43A5-8596-997C9049FE8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RL_PowerPoint_Template_ElevanceSans_060723</Template>
  <TotalTime>15740</TotalTime>
  <Words>2473</Words>
  <Application>Microsoft Office PowerPoint</Application>
  <PresentationFormat>Widescreen</PresentationFormat>
  <Paragraphs>697</Paragraphs>
  <Slides>11</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1" baseType="lpstr">
      <vt:lpstr>Var(--jp-code-font-family)</vt:lpstr>
      <vt:lpstr>Aptos</vt:lpstr>
      <vt:lpstr>Elevance Sans Medium</vt:lpstr>
      <vt:lpstr>Calibri</vt:lpstr>
      <vt:lpstr>Elevance Sans Italic</vt:lpstr>
      <vt:lpstr>Aptos Narrow</vt:lpstr>
      <vt:lpstr>Arial</vt:lpstr>
      <vt:lpstr>Elevance Sans</vt:lpstr>
      <vt:lpstr>Carelon</vt:lpstr>
      <vt:lpstr>think-cell Slide</vt:lpstr>
      <vt:lpstr>High-Risk Newborn Pregnancy Prediction Model- Iteration 4 V1 &amp; V3</vt:lpstr>
      <vt:lpstr>Modelling Data – Iteration_4 (V1)</vt:lpstr>
      <vt:lpstr>Modelling Data – Iteration_4 (V3)</vt:lpstr>
      <vt:lpstr>IHAN  Results – Iteration_4_V1 VS Iteration_4_V3</vt:lpstr>
      <vt:lpstr>IHAN  Results – Iteration_4_V1 VS Iteration_4_V3</vt:lpstr>
      <vt:lpstr>IHAN  Results – Iteration_4_V1 VS Iteration_4_V3</vt:lpstr>
      <vt:lpstr>Iteration 4 V1 &amp; V3 OOT Test score table</vt:lpstr>
      <vt:lpstr>Iter4 _V1: Top 30 Risk Increasing Medical Codes (based on complete OOT data – IHAN201 model, count &gt;=5)</vt:lpstr>
      <vt:lpstr>Iter4 _V3: Top 30 Risk Increasing Medical Codes (based on complete OOT data – IHAN201 model, count &gt;=5)</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M, Roja</dc:creator>
  <cp:lastModifiedBy>C.M, Roja</cp:lastModifiedBy>
  <cp:revision>4</cp:revision>
  <dcterms:created xsi:type="dcterms:W3CDTF">2024-08-19T07:04:55Z</dcterms:created>
  <dcterms:modified xsi:type="dcterms:W3CDTF">2024-11-15T14:5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7209AA1A61D7B408C081C69C51E2085</vt:lpwstr>
  </property>
</Properties>
</file>